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466" r:id="rId1"/>
    <p:sldMasterId id="2147484467" r:id="rId2"/>
    <p:sldMasterId id="2147484571" r:id="rId3"/>
    <p:sldMasterId id="2147484647" r:id="rId4"/>
  </p:sldMasterIdLst>
  <p:notesMasterIdLst>
    <p:notesMasterId r:id="rId28"/>
  </p:notesMasterIdLst>
  <p:handoutMasterIdLst>
    <p:handoutMasterId r:id="rId29"/>
  </p:handoutMasterIdLst>
  <p:sldIdLst>
    <p:sldId id="2147474416" r:id="rId5"/>
    <p:sldId id="2147481244" r:id="rId6"/>
    <p:sldId id="2147481271" r:id="rId7"/>
    <p:sldId id="2147481288" r:id="rId8"/>
    <p:sldId id="2147481295" r:id="rId9"/>
    <p:sldId id="2147481282" r:id="rId10"/>
    <p:sldId id="2147481292" r:id="rId11"/>
    <p:sldId id="2147481293" r:id="rId12"/>
    <p:sldId id="2147474429" r:id="rId13"/>
    <p:sldId id="2147481294" r:id="rId14"/>
    <p:sldId id="2147481262" r:id="rId15"/>
    <p:sldId id="2147481289" r:id="rId16"/>
    <p:sldId id="2147473886" r:id="rId17"/>
    <p:sldId id="2147481257" r:id="rId18"/>
    <p:sldId id="2147481268" r:id="rId19"/>
    <p:sldId id="2147481273" r:id="rId20"/>
    <p:sldId id="2147481265" r:id="rId21"/>
    <p:sldId id="2147481287" r:id="rId22"/>
    <p:sldId id="2147481290" r:id="rId23"/>
    <p:sldId id="2147481283" r:id="rId24"/>
    <p:sldId id="2147481286" r:id="rId25"/>
    <p:sldId id="2147481291" r:id="rId26"/>
    <p:sldId id="2147473293" r:id="rId27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2B587D-0333-4F85-9788-C1CB51ACBFFE}">
          <p14:sldIdLst>
            <p14:sldId id="2147474416"/>
            <p14:sldId id="2147481244"/>
            <p14:sldId id="2147481271"/>
            <p14:sldId id="2147481288"/>
            <p14:sldId id="2147481295"/>
            <p14:sldId id="2147481282"/>
            <p14:sldId id="2147481292"/>
            <p14:sldId id="2147481293"/>
            <p14:sldId id="2147474429"/>
            <p14:sldId id="2147481294"/>
            <p14:sldId id="2147481262"/>
            <p14:sldId id="2147481289"/>
            <p14:sldId id="2147473886"/>
            <p14:sldId id="2147481257"/>
            <p14:sldId id="2147481268"/>
            <p14:sldId id="2147481273"/>
            <p14:sldId id="2147481265"/>
            <p14:sldId id="2147481287"/>
            <p14:sldId id="2147481290"/>
            <p14:sldId id="2147481283"/>
            <p14:sldId id="2147481286"/>
            <p14:sldId id="2147481291"/>
            <p14:sldId id="214747329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56E86C-2CB6-207F-DF8C-A8B7F8944785}" name="Meutia Gozali" initials="MG" userId="490973325e533018" providerId="Windows Live"/>
  <p188:author id="{A2FAFCA0-A1A9-4CD2-B628-518D3A1FBDB7}" name="Nils Lasse Feldmann" initials="NLF" userId="S::nfeldmann@worldbank.org::35ad2d49-274f-44c8-a42a-56622d5d6c9f" providerId="AD"/>
  <p188:author id="{2A5450A3-8E31-4FC2-FF72-E55DD60F8243}" name="Lander Bosch" initials="LB" userId="S::lbosch@worldbank.org::dd1e3193-6825-49c9-bbbb-7892c2b67615" providerId="AD"/>
  <p188:author id="{1BE105E6-BEDD-2E0A-187E-96722D71D39A}" name="Budi Permana" initials="BP" userId="S::bpermana@worldbank.org::f8ec0ade-661f-41a0-90fe-43d293523bd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0000FF"/>
    <a:srgbClr val="108681"/>
    <a:srgbClr val="249C90"/>
    <a:srgbClr val="838901"/>
    <a:srgbClr val="00B3AC"/>
    <a:srgbClr val="16B3AC"/>
    <a:srgbClr val="D2DC02"/>
    <a:srgbClr val="0A5A56"/>
    <a:srgbClr val="B96F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62" autoAdjust="0"/>
    <p:restoredTop sz="95034" autoAdjust="0"/>
  </p:normalViewPr>
  <p:slideViewPr>
    <p:cSldViewPr snapToGrid="0">
      <p:cViewPr varScale="1">
        <p:scale>
          <a:sx n="59" d="100"/>
          <a:sy n="59" d="100"/>
        </p:scale>
        <p:origin x="71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921720-8ACC-4C32-84AC-311ABE70352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67C05BA-DE0E-487E-BFC3-2A4756379804}">
      <dgm:prSet phldrT="[Text]" custT="1"/>
      <dgm:spPr/>
      <dgm:t>
        <a:bodyPr/>
        <a:lstStyle/>
        <a:p>
          <a:r>
            <a:rPr lang="en-US" sz="1600" b="1" dirty="0" err="1"/>
            <a:t>Kontak</a:t>
          </a:r>
          <a:r>
            <a:rPr lang="en-US" sz="1600" b="1" dirty="0"/>
            <a:t> PIC – email dan phone</a:t>
          </a:r>
        </a:p>
      </dgm:t>
    </dgm:pt>
    <dgm:pt modelId="{A3EECD85-A61E-4C9A-93B6-8922A4207620}" type="parTrans" cxnId="{C77E09A1-4919-4F1B-B042-2152BFFF2CD6}">
      <dgm:prSet/>
      <dgm:spPr/>
      <dgm:t>
        <a:bodyPr/>
        <a:lstStyle/>
        <a:p>
          <a:endParaRPr lang="en-US" sz="2000"/>
        </a:p>
      </dgm:t>
    </dgm:pt>
    <dgm:pt modelId="{DB186CBD-8E2D-419A-9DB9-61D6F3331700}" type="sibTrans" cxnId="{C77E09A1-4919-4F1B-B042-2152BFFF2CD6}">
      <dgm:prSet/>
      <dgm:spPr/>
      <dgm:t>
        <a:bodyPr/>
        <a:lstStyle/>
        <a:p>
          <a:endParaRPr lang="en-US" sz="2000"/>
        </a:p>
      </dgm:t>
    </dgm:pt>
    <dgm:pt modelId="{14FBA1D2-ABF3-4F80-8FA3-E4B031FFFA9B}">
      <dgm:prSet phldrT="[Text]" custT="1"/>
      <dgm:spPr/>
      <dgm:t>
        <a:bodyPr/>
        <a:lstStyle/>
        <a:p>
          <a:r>
            <a:rPr lang="en-US" sz="1600" b="1" dirty="0"/>
            <a:t>File excel </a:t>
          </a:r>
          <a:r>
            <a:rPr lang="en-US" sz="1600" b="1" dirty="0" err="1"/>
            <a:t>spek</a:t>
          </a:r>
          <a:r>
            <a:rPr lang="en-US" sz="1600" b="1" dirty="0"/>
            <a:t> </a:t>
          </a:r>
          <a:r>
            <a:rPr lang="en-US" sz="1600" b="1" dirty="0" err="1"/>
            <a:t>teknis</a:t>
          </a:r>
          <a:r>
            <a:rPr lang="en-US" sz="1600" b="1" dirty="0"/>
            <a:t> dan </a:t>
          </a:r>
          <a:r>
            <a:rPr lang="en-US" sz="1600" b="1" dirty="0" err="1"/>
            <a:t>finansial</a:t>
          </a:r>
          <a:r>
            <a:rPr lang="en-US" sz="1600" b="1" dirty="0"/>
            <a:t> </a:t>
          </a:r>
          <a:r>
            <a:rPr lang="en-US" sz="1600" b="1" dirty="0" err="1"/>
            <a:t>dilampirkan</a:t>
          </a:r>
          <a:endParaRPr lang="en-US" sz="1600" b="1" dirty="0"/>
        </a:p>
      </dgm:t>
    </dgm:pt>
    <dgm:pt modelId="{AFFB7145-D2D5-496F-A234-662CE0836E04}" type="parTrans" cxnId="{FFC4028D-013E-4159-8F06-5EE721AAC469}">
      <dgm:prSet/>
      <dgm:spPr/>
      <dgm:t>
        <a:bodyPr/>
        <a:lstStyle/>
        <a:p>
          <a:endParaRPr lang="en-US" sz="2000"/>
        </a:p>
      </dgm:t>
    </dgm:pt>
    <dgm:pt modelId="{8B598173-06E3-4C1E-BDEC-3AC1C08D8D0B}" type="sibTrans" cxnId="{FFC4028D-013E-4159-8F06-5EE721AAC469}">
      <dgm:prSet/>
      <dgm:spPr/>
      <dgm:t>
        <a:bodyPr/>
        <a:lstStyle/>
        <a:p>
          <a:endParaRPr lang="en-US" sz="2000"/>
        </a:p>
      </dgm:t>
    </dgm:pt>
    <dgm:pt modelId="{A68754F3-B19C-4D92-9ADE-2ADDDF98356D}">
      <dgm:prSet phldrT="[Text]" custT="1"/>
      <dgm:spPr/>
      <dgm:t>
        <a:bodyPr/>
        <a:lstStyle/>
        <a:p>
          <a:r>
            <a:rPr lang="en-US" sz="1600" b="1" dirty="0"/>
            <a:t>AATO</a:t>
          </a:r>
        </a:p>
      </dgm:t>
    </dgm:pt>
    <dgm:pt modelId="{E3574888-512A-40AA-A1BE-59AC166DAD6C}" type="parTrans" cxnId="{D6F39F7D-D7AF-4016-B6C6-25866ED45828}">
      <dgm:prSet/>
      <dgm:spPr/>
      <dgm:t>
        <a:bodyPr/>
        <a:lstStyle/>
        <a:p>
          <a:endParaRPr lang="en-US" sz="2000"/>
        </a:p>
      </dgm:t>
    </dgm:pt>
    <dgm:pt modelId="{6B6BC985-4D78-4FED-B659-5980C6098C4E}" type="sibTrans" cxnId="{D6F39F7D-D7AF-4016-B6C6-25866ED45828}">
      <dgm:prSet/>
      <dgm:spPr/>
      <dgm:t>
        <a:bodyPr/>
        <a:lstStyle/>
        <a:p>
          <a:endParaRPr lang="en-US" sz="2000"/>
        </a:p>
      </dgm:t>
    </dgm:pt>
    <dgm:pt modelId="{BECE978D-C5E2-4B7B-8A38-1E65E350265D}">
      <dgm:prSet custT="1"/>
      <dgm:spPr/>
      <dgm:t>
        <a:bodyPr/>
        <a:lstStyle/>
        <a:p>
          <a:r>
            <a:rPr lang="en-US" sz="1400" dirty="0" err="1"/>
            <a:t>Informasi</a:t>
          </a:r>
          <a:r>
            <a:rPr lang="en-US" sz="1400" dirty="0"/>
            <a:t> </a:t>
          </a:r>
          <a:r>
            <a:rPr lang="en-US" sz="1400" dirty="0" err="1"/>
            <a:t>kontak</a:t>
          </a:r>
          <a:r>
            <a:rPr lang="en-US" sz="1400" dirty="0"/>
            <a:t> </a:t>
          </a:r>
          <a:r>
            <a:rPr lang="en-US" sz="1400" dirty="0" err="1"/>
            <a:t>harus</a:t>
          </a:r>
          <a:r>
            <a:rPr lang="en-US" sz="1400" dirty="0"/>
            <a:t> </a:t>
          </a:r>
          <a:r>
            <a:rPr lang="en-US" sz="1400" dirty="0" err="1"/>
            <a:t>jelas</a:t>
          </a:r>
          <a:r>
            <a:rPr lang="en-US" sz="1400" dirty="0"/>
            <a:t> dan </a:t>
          </a:r>
          <a:r>
            <a:rPr lang="en-US" sz="1400" dirty="0" err="1"/>
            <a:t>dapat</a:t>
          </a:r>
          <a:r>
            <a:rPr lang="en-US" sz="1400" dirty="0"/>
            <a:t> </a:t>
          </a:r>
          <a:r>
            <a:rPr lang="en-US" sz="1400" dirty="0" err="1"/>
            <a:t>dihubungi</a:t>
          </a:r>
          <a:r>
            <a:rPr lang="en-US" sz="1400" dirty="0"/>
            <a:t> </a:t>
          </a:r>
          <a:r>
            <a:rPr lang="en-US" sz="1400" dirty="0" err="1"/>
            <a:t>kapanpun</a:t>
          </a:r>
          <a:endParaRPr lang="en-US" sz="1400" dirty="0"/>
        </a:p>
      </dgm:t>
    </dgm:pt>
    <dgm:pt modelId="{A30B15E8-A442-4430-A0F8-169D0BFEB84A}" type="parTrans" cxnId="{AD08D7CF-4402-4949-A023-90A1357B0E9D}">
      <dgm:prSet/>
      <dgm:spPr/>
      <dgm:t>
        <a:bodyPr/>
        <a:lstStyle/>
        <a:p>
          <a:endParaRPr lang="en-US" sz="2000"/>
        </a:p>
      </dgm:t>
    </dgm:pt>
    <dgm:pt modelId="{676DDDA2-FE54-49B3-9016-983D9C014E6E}" type="sibTrans" cxnId="{AD08D7CF-4402-4949-A023-90A1357B0E9D}">
      <dgm:prSet/>
      <dgm:spPr/>
      <dgm:t>
        <a:bodyPr/>
        <a:lstStyle/>
        <a:p>
          <a:endParaRPr lang="en-US" sz="2000"/>
        </a:p>
      </dgm:t>
    </dgm:pt>
    <dgm:pt modelId="{66C55391-55DA-4FB2-8D05-1EFF5996E0F8}">
      <dgm:prSet custT="1"/>
      <dgm:spPr/>
      <dgm:t>
        <a:bodyPr/>
        <a:lstStyle/>
        <a:p>
          <a:r>
            <a:rPr lang="en-US" sz="1400" dirty="0"/>
            <a:t>Tidak </a:t>
          </a:r>
          <a:r>
            <a:rPr lang="en-US" sz="1400" dirty="0" err="1"/>
            <a:t>ada</a:t>
          </a:r>
          <a:r>
            <a:rPr lang="en-US" sz="1400" dirty="0"/>
            <a:t> </a:t>
          </a:r>
          <a:r>
            <a:rPr lang="en-US" sz="1400" dirty="0" err="1"/>
            <a:t>respon</a:t>
          </a:r>
          <a:r>
            <a:rPr lang="en-US" sz="1400" dirty="0"/>
            <a:t> dalam </a:t>
          </a:r>
          <a:r>
            <a:rPr lang="en-US" sz="1400" dirty="0" err="1"/>
            <a:t>jangka</a:t>
          </a:r>
          <a:r>
            <a:rPr lang="en-US" sz="1400" dirty="0"/>
            <a:t> </a:t>
          </a:r>
          <a:r>
            <a:rPr lang="en-US" sz="1400" dirty="0" err="1"/>
            <a:t>waktu</a:t>
          </a:r>
          <a:r>
            <a:rPr lang="en-US" sz="1400" dirty="0"/>
            <a:t> </a:t>
          </a:r>
          <a:r>
            <a:rPr lang="en-US" sz="1400" dirty="0" err="1"/>
            <a:t>tertentu</a:t>
          </a:r>
          <a:r>
            <a:rPr lang="en-US" sz="1400" dirty="0"/>
            <a:t> </a:t>
          </a:r>
          <a:r>
            <a:rPr lang="en-US" sz="1400" dirty="0" err="1"/>
            <a:t>dapat</a:t>
          </a:r>
          <a:r>
            <a:rPr lang="en-US" sz="1400" dirty="0"/>
            <a:t> </a:t>
          </a:r>
          <a:r>
            <a:rPr lang="en-US" sz="1400" dirty="0" err="1"/>
            <a:t>dianggap</a:t>
          </a:r>
          <a:r>
            <a:rPr lang="en-US" sz="1400" dirty="0"/>
            <a:t> non-responsive dan </a:t>
          </a:r>
          <a:r>
            <a:rPr lang="en-US" sz="1400" dirty="0" err="1"/>
            <a:t>gagal</a:t>
          </a:r>
          <a:endParaRPr lang="en-US" sz="1400" dirty="0"/>
        </a:p>
      </dgm:t>
    </dgm:pt>
    <dgm:pt modelId="{B1F59399-ACC4-4F32-BC78-3EE73FAB59C3}" type="parTrans" cxnId="{DD480EDC-5A45-4851-A7BC-930709773B5C}">
      <dgm:prSet/>
      <dgm:spPr/>
      <dgm:t>
        <a:bodyPr/>
        <a:lstStyle/>
        <a:p>
          <a:endParaRPr lang="en-US" sz="2000"/>
        </a:p>
      </dgm:t>
    </dgm:pt>
    <dgm:pt modelId="{3928DB8D-EA2D-4EA1-81C0-F848B8C3A158}" type="sibTrans" cxnId="{DD480EDC-5A45-4851-A7BC-930709773B5C}">
      <dgm:prSet/>
      <dgm:spPr/>
      <dgm:t>
        <a:bodyPr/>
        <a:lstStyle/>
        <a:p>
          <a:endParaRPr lang="en-US" sz="2000"/>
        </a:p>
      </dgm:t>
    </dgm:pt>
    <dgm:pt modelId="{8AE476FE-C1AA-4ADC-ACC1-7B14CE12DB0B}">
      <dgm:prSet custT="1"/>
      <dgm:spPr/>
      <dgm:t>
        <a:bodyPr/>
        <a:lstStyle/>
        <a:p>
          <a:r>
            <a:rPr lang="en-US" sz="1400" err="1"/>
            <a:t>Selain</a:t>
          </a:r>
          <a:r>
            <a:rPr lang="en-US" sz="1400"/>
            <a:t> pdf, </a:t>
          </a:r>
          <a:r>
            <a:rPr lang="en-US" sz="1400" dirty="0"/>
            <a:t>bidder juga </a:t>
          </a:r>
          <a:r>
            <a:rPr lang="en-US" sz="1400" dirty="0" err="1"/>
            <a:t>harus</a:t>
          </a:r>
          <a:r>
            <a:rPr lang="en-US" sz="1400" dirty="0"/>
            <a:t> </a:t>
          </a:r>
          <a:r>
            <a:rPr lang="en-US" sz="1400" dirty="0" err="1"/>
            <a:t>melampirkan</a:t>
          </a:r>
          <a:r>
            <a:rPr lang="en-US" sz="1400" dirty="0"/>
            <a:t> file excel </a:t>
          </a:r>
          <a:r>
            <a:rPr lang="en-US" sz="1400" dirty="0" err="1"/>
            <a:t>teknis</a:t>
          </a:r>
          <a:r>
            <a:rPr lang="en-US" sz="1400" dirty="0"/>
            <a:t> dan </a:t>
          </a:r>
          <a:r>
            <a:rPr lang="en-US" sz="1400" dirty="0" err="1"/>
            <a:t>finansial</a:t>
          </a:r>
          <a:endParaRPr lang="en-US" sz="1400" dirty="0"/>
        </a:p>
      </dgm:t>
    </dgm:pt>
    <dgm:pt modelId="{214C4F27-40FB-4E3D-8C39-8BC5821CA720}" type="parTrans" cxnId="{C578B375-D2EF-43D0-BD96-F2AB70958EC7}">
      <dgm:prSet/>
      <dgm:spPr/>
      <dgm:t>
        <a:bodyPr/>
        <a:lstStyle/>
        <a:p>
          <a:endParaRPr lang="en-US" sz="2000"/>
        </a:p>
      </dgm:t>
    </dgm:pt>
    <dgm:pt modelId="{FD9EEB6A-627C-4894-BFFF-BE81DA66D8B3}" type="sibTrans" cxnId="{C578B375-D2EF-43D0-BD96-F2AB70958EC7}">
      <dgm:prSet/>
      <dgm:spPr/>
      <dgm:t>
        <a:bodyPr/>
        <a:lstStyle/>
        <a:p>
          <a:endParaRPr lang="en-US" sz="2000"/>
        </a:p>
      </dgm:t>
    </dgm:pt>
    <dgm:pt modelId="{F8EF0AC9-CB37-4572-8CFB-5BF76D38B0A8}">
      <dgm:prSet custT="1"/>
      <dgm:spPr/>
      <dgm:t>
        <a:bodyPr/>
        <a:lstStyle/>
        <a:p>
          <a:r>
            <a:rPr lang="en-US" sz="1400" dirty="0" err="1"/>
            <a:t>Pisahkan</a:t>
          </a:r>
          <a:r>
            <a:rPr lang="en-US" sz="1400" dirty="0"/>
            <a:t> file </a:t>
          </a:r>
          <a:r>
            <a:rPr lang="en-US" sz="1400" dirty="0" err="1"/>
            <a:t>bagian</a:t>
          </a:r>
          <a:r>
            <a:rPr lang="en-US" sz="1400" dirty="0"/>
            <a:t> Teknis </a:t>
          </a:r>
          <a:r>
            <a:rPr lang="en-US" sz="1400" dirty="0" err="1"/>
            <a:t>dengan</a:t>
          </a:r>
          <a:r>
            <a:rPr lang="en-US" sz="1400" dirty="0"/>
            <a:t> </a:t>
          </a:r>
          <a:r>
            <a:rPr lang="en-US" sz="1400" dirty="0" err="1"/>
            <a:t>bagian</a:t>
          </a:r>
          <a:r>
            <a:rPr lang="en-US" sz="1400" dirty="0"/>
            <a:t> </a:t>
          </a:r>
          <a:r>
            <a:rPr lang="en-US" sz="1400" dirty="0" err="1"/>
            <a:t>Finansial</a:t>
          </a:r>
          <a:endParaRPr lang="en-US" sz="1400" dirty="0"/>
        </a:p>
      </dgm:t>
    </dgm:pt>
    <dgm:pt modelId="{A64ED5A8-8FAD-4BE3-A41D-7F3D1DCA16BC}" type="parTrans" cxnId="{C0108FC1-A072-4C4B-B907-4228DE8F3DCF}">
      <dgm:prSet/>
      <dgm:spPr/>
      <dgm:t>
        <a:bodyPr/>
        <a:lstStyle/>
        <a:p>
          <a:endParaRPr lang="en-US" sz="2000"/>
        </a:p>
      </dgm:t>
    </dgm:pt>
    <dgm:pt modelId="{9A6C9296-6A90-4041-A5F5-2C948462ADCA}" type="sibTrans" cxnId="{C0108FC1-A072-4C4B-B907-4228DE8F3DCF}">
      <dgm:prSet/>
      <dgm:spPr/>
      <dgm:t>
        <a:bodyPr/>
        <a:lstStyle/>
        <a:p>
          <a:endParaRPr lang="en-US" sz="2000"/>
        </a:p>
      </dgm:t>
    </dgm:pt>
    <dgm:pt modelId="{AA8685AF-04DA-4E4F-8FA8-95DADEABD4B3}">
      <dgm:prSet custT="1"/>
      <dgm:spPr/>
      <dgm:t>
        <a:bodyPr/>
        <a:lstStyle/>
        <a:p>
          <a:r>
            <a:rPr lang="en-US" sz="1400" dirty="0" err="1"/>
            <a:t>Pastikan</a:t>
          </a:r>
          <a:r>
            <a:rPr lang="en-US" sz="1400" dirty="0"/>
            <a:t> </a:t>
          </a:r>
          <a:r>
            <a:rPr lang="en-US" sz="1400" dirty="0" err="1"/>
            <a:t>dokumen</a:t>
          </a:r>
          <a:r>
            <a:rPr lang="en-US" sz="1400" dirty="0"/>
            <a:t> </a:t>
          </a:r>
          <a:r>
            <a:rPr lang="en-US" sz="1400" dirty="0" err="1"/>
            <a:t>dapat</a:t>
          </a:r>
          <a:r>
            <a:rPr lang="en-US" sz="1400" dirty="0"/>
            <a:t> </a:t>
          </a:r>
          <a:r>
            <a:rPr lang="en-US" sz="1400" dirty="0" err="1"/>
            <a:t>dibuka</a:t>
          </a:r>
          <a:r>
            <a:rPr lang="en-US" sz="1400" dirty="0"/>
            <a:t> dan </a:t>
          </a:r>
          <a:r>
            <a:rPr lang="en-US" sz="1400" dirty="0" err="1"/>
            <a:t>tidak</a:t>
          </a:r>
          <a:r>
            <a:rPr lang="en-US" sz="1400" dirty="0"/>
            <a:t> </a:t>
          </a:r>
          <a:r>
            <a:rPr lang="en-US" sz="1400" dirty="0" err="1"/>
            <a:t>terkunci</a:t>
          </a:r>
          <a:endParaRPr lang="en-US" sz="1400" dirty="0"/>
        </a:p>
      </dgm:t>
    </dgm:pt>
    <dgm:pt modelId="{DDC5800F-B103-4181-8747-AF5CC0082B52}" type="parTrans" cxnId="{C5764F7C-3F0A-441F-A76A-96D601427810}">
      <dgm:prSet/>
      <dgm:spPr/>
      <dgm:t>
        <a:bodyPr/>
        <a:lstStyle/>
        <a:p>
          <a:endParaRPr lang="en-US" sz="2000"/>
        </a:p>
      </dgm:t>
    </dgm:pt>
    <dgm:pt modelId="{51862839-DC85-41AE-9307-69BAC33C59A1}" type="sibTrans" cxnId="{C5764F7C-3F0A-441F-A76A-96D601427810}">
      <dgm:prSet/>
      <dgm:spPr/>
      <dgm:t>
        <a:bodyPr/>
        <a:lstStyle/>
        <a:p>
          <a:endParaRPr lang="en-US" sz="2000"/>
        </a:p>
      </dgm:t>
    </dgm:pt>
    <dgm:pt modelId="{F351620E-A2DA-46D0-830E-AD4F33BA099D}">
      <dgm:prSet custT="1"/>
      <dgm:spPr/>
      <dgm:t>
        <a:bodyPr/>
        <a:lstStyle/>
        <a:p>
          <a:r>
            <a:rPr lang="en-US" sz="1400" dirty="0"/>
            <a:t>Bidder </a:t>
          </a:r>
          <a:r>
            <a:rPr lang="en-US" sz="1400" dirty="0" err="1"/>
            <a:t>menyampaikan</a:t>
          </a:r>
          <a:r>
            <a:rPr lang="en-US" sz="1400" dirty="0"/>
            <a:t> AATO </a:t>
          </a:r>
          <a:r>
            <a:rPr lang="en-US" sz="1400" dirty="0" err="1"/>
            <a:t>berupa</a:t>
          </a:r>
          <a:r>
            <a:rPr lang="en-US" sz="1400" dirty="0"/>
            <a:t> </a:t>
          </a:r>
          <a:r>
            <a:rPr lang="en-US" sz="1400" i="1" dirty="0"/>
            <a:t>financial report </a:t>
          </a:r>
          <a:r>
            <a:rPr lang="en-US" sz="1400" dirty="0" err="1"/>
            <a:t>dari</a:t>
          </a:r>
          <a:r>
            <a:rPr lang="en-US" sz="1400" dirty="0"/>
            <a:t> Bidder </a:t>
          </a:r>
          <a:r>
            <a:rPr lang="en-US" sz="1400" dirty="0" err="1"/>
            <a:t>maupun</a:t>
          </a:r>
          <a:r>
            <a:rPr lang="en-US" sz="1400" dirty="0"/>
            <a:t> </a:t>
          </a:r>
          <a:r>
            <a:rPr lang="en-US" sz="1400" dirty="0" err="1"/>
            <a:t>Anggota</a:t>
          </a:r>
          <a:r>
            <a:rPr lang="en-US" sz="1400" dirty="0"/>
            <a:t> JV </a:t>
          </a:r>
          <a:r>
            <a:rPr lang="en-US" sz="1400" b="1" dirty="0" err="1"/>
            <a:t>bukan</a:t>
          </a:r>
          <a:r>
            <a:rPr lang="en-US" sz="1400" b="1" dirty="0"/>
            <a:t> </a:t>
          </a:r>
          <a:r>
            <a:rPr lang="en-US" sz="1400" i="1" dirty="0"/>
            <a:t>financial report</a:t>
          </a:r>
          <a:r>
            <a:rPr lang="en-US" sz="1400" dirty="0"/>
            <a:t> </a:t>
          </a:r>
          <a:r>
            <a:rPr lang="en-US" sz="1400" dirty="0" err="1"/>
            <a:t>konsolidasi</a:t>
          </a:r>
          <a:endParaRPr lang="en-US" sz="1400" dirty="0"/>
        </a:p>
      </dgm:t>
    </dgm:pt>
    <dgm:pt modelId="{D51CB118-911F-474A-B17A-36FC0B98AC9C}" type="parTrans" cxnId="{1BC04069-6FE7-4137-B235-60C1C4E552E8}">
      <dgm:prSet/>
      <dgm:spPr/>
      <dgm:t>
        <a:bodyPr/>
        <a:lstStyle/>
        <a:p>
          <a:endParaRPr lang="en-US" sz="2000"/>
        </a:p>
      </dgm:t>
    </dgm:pt>
    <dgm:pt modelId="{3EE492F7-6D0F-41F9-942F-C4941F54ED88}" type="sibTrans" cxnId="{1BC04069-6FE7-4137-B235-60C1C4E552E8}">
      <dgm:prSet/>
      <dgm:spPr/>
      <dgm:t>
        <a:bodyPr/>
        <a:lstStyle/>
        <a:p>
          <a:endParaRPr lang="en-US" sz="2000"/>
        </a:p>
      </dgm:t>
    </dgm:pt>
    <dgm:pt modelId="{977A131A-F4B7-4BFB-BEEF-D184EC064A32}">
      <dgm:prSet custT="1"/>
      <dgm:spPr/>
      <dgm:t>
        <a:bodyPr/>
        <a:lstStyle/>
        <a:p>
          <a:r>
            <a:rPr lang="en-US" sz="1600" b="1" dirty="0"/>
            <a:t>Tidak </a:t>
          </a:r>
          <a:r>
            <a:rPr lang="en-US" sz="1600" b="1" dirty="0" err="1"/>
            <a:t>boleh</a:t>
          </a:r>
          <a:r>
            <a:rPr lang="en-US" sz="1600" b="1" dirty="0"/>
            <a:t> </a:t>
          </a:r>
          <a:r>
            <a:rPr lang="en-US" sz="1600" b="1" i="1" dirty="0"/>
            <a:t>Alternative Bid</a:t>
          </a:r>
          <a:endParaRPr lang="en-US" sz="1600" i="1" dirty="0"/>
        </a:p>
      </dgm:t>
    </dgm:pt>
    <dgm:pt modelId="{E2520442-16E7-490D-AFCD-A88F125072AE}" type="parTrans" cxnId="{D8440F39-9FCC-47EB-AF90-F4FE79D3F733}">
      <dgm:prSet/>
      <dgm:spPr/>
      <dgm:t>
        <a:bodyPr/>
        <a:lstStyle/>
        <a:p>
          <a:endParaRPr lang="en-US" sz="2000"/>
        </a:p>
      </dgm:t>
    </dgm:pt>
    <dgm:pt modelId="{B89A2FEE-5675-462F-924F-FCE332DAD452}" type="sibTrans" cxnId="{D8440F39-9FCC-47EB-AF90-F4FE79D3F733}">
      <dgm:prSet/>
      <dgm:spPr/>
      <dgm:t>
        <a:bodyPr/>
        <a:lstStyle/>
        <a:p>
          <a:endParaRPr lang="en-US" sz="2000"/>
        </a:p>
      </dgm:t>
    </dgm:pt>
    <dgm:pt modelId="{E5B341DF-E6F2-4187-9EFE-2B305B5C2767}">
      <dgm:prSet custT="1"/>
      <dgm:spPr/>
      <dgm:t>
        <a:bodyPr/>
        <a:lstStyle/>
        <a:p>
          <a:r>
            <a:rPr lang="en-US" sz="1400" dirty="0"/>
            <a:t>Bidder </a:t>
          </a:r>
          <a:r>
            <a:rPr lang="en-US" sz="1400" dirty="0" err="1"/>
            <a:t>hanya</a:t>
          </a:r>
          <a:r>
            <a:rPr lang="en-US" sz="1400" dirty="0"/>
            <a:t> </a:t>
          </a:r>
          <a:r>
            <a:rPr lang="en-US" sz="1400" dirty="0" err="1"/>
            <a:t>menawarkan</a:t>
          </a:r>
          <a:r>
            <a:rPr lang="en-US" sz="1400" dirty="0"/>
            <a:t> </a:t>
          </a:r>
          <a:r>
            <a:rPr lang="en-US" sz="1400" dirty="0" err="1"/>
            <a:t>barang</a:t>
          </a:r>
          <a:r>
            <a:rPr lang="en-US" sz="1400" dirty="0"/>
            <a:t> yang </a:t>
          </a:r>
          <a:r>
            <a:rPr lang="en-US" sz="1400" dirty="0" err="1"/>
            <a:t>sesuai</a:t>
          </a:r>
          <a:r>
            <a:rPr lang="en-US" sz="1400" dirty="0"/>
            <a:t> </a:t>
          </a:r>
          <a:r>
            <a:rPr lang="en-US" sz="1400" dirty="0" err="1"/>
            <a:t>dengan</a:t>
          </a:r>
          <a:r>
            <a:rPr lang="en-US" sz="1400" dirty="0"/>
            <a:t> </a:t>
          </a:r>
          <a:r>
            <a:rPr lang="en-US" sz="1400" dirty="0" err="1"/>
            <a:t>spek</a:t>
          </a:r>
          <a:r>
            <a:rPr lang="en-US" sz="1400" dirty="0"/>
            <a:t>, </a:t>
          </a:r>
          <a:r>
            <a:rPr lang="en-US" sz="1400" dirty="0" err="1"/>
            <a:t>tidak</a:t>
          </a:r>
          <a:r>
            <a:rPr lang="en-US" sz="1400" dirty="0"/>
            <a:t> </a:t>
          </a:r>
          <a:r>
            <a:rPr lang="en-US" sz="1400" dirty="0" err="1"/>
            <a:t>dapat</a:t>
          </a:r>
          <a:r>
            <a:rPr lang="en-US" sz="1400" dirty="0"/>
            <a:t> </a:t>
          </a:r>
          <a:r>
            <a:rPr lang="en-US" sz="1400" dirty="0" err="1"/>
            <a:t>memberikan</a:t>
          </a:r>
          <a:r>
            <a:rPr lang="en-US" sz="1400" dirty="0"/>
            <a:t> </a:t>
          </a:r>
          <a:r>
            <a:rPr lang="en-US" sz="1400" dirty="0" err="1"/>
            <a:t>opsi</a:t>
          </a:r>
          <a:r>
            <a:rPr lang="en-US" sz="1400" dirty="0"/>
            <a:t> </a:t>
          </a:r>
          <a:r>
            <a:rPr lang="en-US" sz="1400" dirty="0" err="1"/>
            <a:t>barang</a:t>
          </a:r>
          <a:r>
            <a:rPr lang="en-US" sz="1400" dirty="0"/>
            <a:t> A </a:t>
          </a:r>
          <a:r>
            <a:rPr lang="en-US" sz="1400" dirty="0" err="1"/>
            <a:t>atau</a:t>
          </a:r>
          <a:r>
            <a:rPr lang="en-US" sz="1400" dirty="0"/>
            <a:t> B</a:t>
          </a:r>
        </a:p>
      </dgm:t>
    </dgm:pt>
    <dgm:pt modelId="{B7681A9A-D7AE-4906-B8EA-EB57CDEF6949}" type="parTrans" cxnId="{39BD45B0-D724-44B4-9EBE-F1C364D44087}">
      <dgm:prSet/>
      <dgm:spPr/>
      <dgm:t>
        <a:bodyPr/>
        <a:lstStyle/>
        <a:p>
          <a:endParaRPr lang="en-US" sz="2000"/>
        </a:p>
      </dgm:t>
    </dgm:pt>
    <dgm:pt modelId="{02DF755D-E4C1-47B1-B67F-75C8747966D5}" type="sibTrans" cxnId="{39BD45B0-D724-44B4-9EBE-F1C364D44087}">
      <dgm:prSet/>
      <dgm:spPr/>
      <dgm:t>
        <a:bodyPr/>
        <a:lstStyle/>
        <a:p>
          <a:endParaRPr lang="en-US" sz="2000"/>
        </a:p>
      </dgm:t>
    </dgm:pt>
    <dgm:pt modelId="{BEE46678-860E-448F-81CE-7DBB6D090F0A}">
      <dgm:prSet custT="1"/>
      <dgm:spPr/>
      <dgm:t>
        <a:bodyPr/>
        <a:lstStyle/>
        <a:p>
          <a:r>
            <a:rPr lang="en-US" sz="1600" b="1" dirty="0"/>
            <a:t>Bid Check List</a:t>
          </a:r>
          <a:endParaRPr lang="en-US" sz="1600" dirty="0"/>
        </a:p>
      </dgm:t>
    </dgm:pt>
    <dgm:pt modelId="{1B404FBF-5FEA-49B8-B030-F56AF2CAB68D}" type="parTrans" cxnId="{0A502E15-5A86-4067-AF06-EABE8F0DC567}">
      <dgm:prSet/>
      <dgm:spPr/>
      <dgm:t>
        <a:bodyPr/>
        <a:lstStyle/>
        <a:p>
          <a:endParaRPr lang="en-US" sz="2000"/>
        </a:p>
      </dgm:t>
    </dgm:pt>
    <dgm:pt modelId="{45F32533-397B-4E61-A22C-63CE29E85041}" type="sibTrans" cxnId="{0A502E15-5A86-4067-AF06-EABE8F0DC567}">
      <dgm:prSet/>
      <dgm:spPr/>
      <dgm:t>
        <a:bodyPr/>
        <a:lstStyle/>
        <a:p>
          <a:endParaRPr lang="en-US" sz="2000"/>
        </a:p>
      </dgm:t>
    </dgm:pt>
    <dgm:pt modelId="{2B001E96-5821-455F-9EBC-391BE8C3A5E7}">
      <dgm:prSet custT="1"/>
      <dgm:spPr/>
      <dgm:t>
        <a:bodyPr/>
        <a:lstStyle/>
        <a:p>
          <a:r>
            <a:rPr lang="en-US" sz="1400" dirty="0"/>
            <a:t>Bidder </a:t>
          </a:r>
          <a:r>
            <a:rPr lang="en-US" sz="1400" dirty="0" err="1"/>
            <a:t>memberikan</a:t>
          </a:r>
          <a:r>
            <a:rPr lang="en-US" sz="1400" dirty="0"/>
            <a:t> list </a:t>
          </a:r>
          <a:r>
            <a:rPr lang="en-US" sz="1400" dirty="0" err="1"/>
            <a:t>dokumen</a:t>
          </a:r>
          <a:r>
            <a:rPr lang="en-US" sz="1400" dirty="0"/>
            <a:t> yang </a:t>
          </a:r>
          <a:r>
            <a:rPr lang="en-US" sz="1400" dirty="0" err="1"/>
            <a:t>disampaikan</a:t>
          </a:r>
          <a:r>
            <a:rPr lang="en-US" sz="1400" dirty="0"/>
            <a:t> </a:t>
          </a:r>
          <a:r>
            <a:rPr lang="en-US" sz="1400" dirty="0" err="1"/>
            <a:t>dalam</a:t>
          </a:r>
          <a:r>
            <a:rPr lang="en-US" sz="1400" dirty="0"/>
            <a:t> </a:t>
          </a:r>
          <a:r>
            <a:rPr lang="en-US" sz="1400" dirty="0" err="1"/>
            <a:t>penawaran</a:t>
          </a:r>
          <a:r>
            <a:rPr lang="en-US" sz="1400" dirty="0"/>
            <a:t> </a:t>
          </a:r>
        </a:p>
      </dgm:t>
    </dgm:pt>
    <dgm:pt modelId="{3F5F4B64-575A-4253-8EA3-985D30CB8DD0}" type="parTrans" cxnId="{DE2A0960-3BA6-48F1-9345-588D32EB0D2C}">
      <dgm:prSet/>
      <dgm:spPr/>
      <dgm:t>
        <a:bodyPr/>
        <a:lstStyle/>
        <a:p>
          <a:endParaRPr lang="en-US" sz="2000"/>
        </a:p>
      </dgm:t>
    </dgm:pt>
    <dgm:pt modelId="{13627C4B-9D15-42F7-9803-0E1395209EDB}" type="sibTrans" cxnId="{DE2A0960-3BA6-48F1-9345-588D32EB0D2C}">
      <dgm:prSet/>
      <dgm:spPr/>
      <dgm:t>
        <a:bodyPr/>
        <a:lstStyle/>
        <a:p>
          <a:endParaRPr lang="en-US" sz="2000"/>
        </a:p>
      </dgm:t>
    </dgm:pt>
    <dgm:pt modelId="{30A6500D-DC92-4D9E-B6A4-D1DA5C92443D}">
      <dgm:prSet custT="1"/>
      <dgm:spPr/>
      <dgm:t>
        <a:bodyPr/>
        <a:lstStyle/>
        <a:p>
          <a:r>
            <a:rPr lang="en-US" sz="1400" dirty="0"/>
            <a:t>Bidder </a:t>
          </a:r>
          <a:r>
            <a:rPr lang="en-US" sz="1400" dirty="0" err="1"/>
            <a:t>memberikan</a:t>
          </a:r>
          <a:r>
            <a:rPr lang="en-US" sz="1400" dirty="0"/>
            <a:t> </a:t>
          </a:r>
          <a:r>
            <a:rPr lang="en-US" sz="1400" i="1" dirty="0"/>
            <a:t>Summary</a:t>
          </a:r>
          <a:r>
            <a:rPr lang="en-US" sz="1400" dirty="0"/>
            <a:t>/</a:t>
          </a:r>
          <a:r>
            <a:rPr lang="en-US" sz="1400" dirty="0" err="1"/>
            <a:t>ringkasan</a:t>
          </a:r>
          <a:r>
            <a:rPr lang="en-US" sz="1400" dirty="0"/>
            <a:t> pada </a:t>
          </a:r>
          <a:r>
            <a:rPr lang="en-US" sz="1400" dirty="0" err="1"/>
            <a:t>tiap</a:t>
          </a:r>
          <a:r>
            <a:rPr lang="en-US" sz="1400" dirty="0"/>
            <a:t> </a:t>
          </a:r>
          <a:r>
            <a:rPr lang="en-US" sz="1400" dirty="0" err="1"/>
            <a:t>dokumen</a:t>
          </a:r>
          <a:r>
            <a:rPr lang="en-US" sz="1400" dirty="0"/>
            <a:t> </a:t>
          </a:r>
          <a:r>
            <a:rPr lang="en-US" sz="1400" dirty="0" err="1"/>
            <a:t>kualifikasi</a:t>
          </a:r>
          <a:endParaRPr lang="en-US" sz="1400" dirty="0"/>
        </a:p>
      </dgm:t>
    </dgm:pt>
    <dgm:pt modelId="{4EAF82D1-B9D3-4824-8F58-D3CC4A578158}" type="parTrans" cxnId="{4D6DEF25-5FE7-4AE0-B333-2774C169FD70}">
      <dgm:prSet/>
      <dgm:spPr/>
      <dgm:t>
        <a:bodyPr/>
        <a:lstStyle/>
        <a:p>
          <a:endParaRPr lang="en-US"/>
        </a:p>
      </dgm:t>
    </dgm:pt>
    <dgm:pt modelId="{F14F5E03-A995-4CAE-9F10-383B78EEB9F6}" type="sibTrans" cxnId="{4D6DEF25-5FE7-4AE0-B333-2774C169FD70}">
      <dgm:prSet/>
      <dgm:spPr/>
      <dgm:t>
        <a:bodyPr/>
        <a:lstStyle/>
        <a:p>
          <a:endParaRPr lang="en-US"/>
        </a:p>
      </dgm:t>
    </dgm:pt>
    <dgm:pt modelId="{1AD4A83C-9225-450E-8E35-A7BC5AE0AC14}" type="pres">
      <dgm:prSet presAssocID="{E4921720-8ACC-4C32-84AC-311ABE703522}" presName="Name0" presStyleCnt="0">
        <dgm:presLayoutVars>
          <dgm:dir/>
          <dgm:animLvl val="lvl"/>
          <dgm:resizeHandles val="exact"/>
        </dgm:presLayoutVars>
      </dgm:prSet>
      <dgm:spPr/>
    </dgm:pt>
    <dgm:pt modelId="{81A3CF59-03B7-4C5F-A02F-A6EE6DBD6F04}" type="pres">
      <dgm:prSet presAssocID="{F67C05BA-DE0E-487E-BFC3-2A4756379804}" presName="linNode" presStyleCnt="0"/>
      <dgm:spPr/>
    </dgm:pt>
    <dgm:pt modelId="{1AAE808B-9A77-4A6F-9508-196EDC015127}" type="pres">
      <dgm:prSet presAssocID="{F67C05BA-DE0E-487E-BFC3-2A4756379804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902D1EC3-A7AC-479A-96BA-2BE7192D8641}" type="pres">
      <dgm:prSet presAssocID="{F67C05BA-DE0E-487E-BFC3-2A4756379804}" presName="descendantText" presStyleLbl="alignAccFollowNode1" presStyleIdx="0" presStyleCnt="5">
        <dgm:presLayoutVars>
          <dgm:bulletEnabled val="1"/>
        </dgm:presLayoutVars>
      </dgm:prSet>
      <dgm:spPr/>
    </dgm:pt>
    <dgm:pt modelId="{2414F0DE-66BB-44AB-ABB8-EB5CE3A47305}" type="pres">
      <dgm:prSet presAssocID="{DB186CBD-8E2D-419A-9DB9-61D6F3331700}" presName="sp" presStyleCnt="0"/>
      <dgm:spPr/>
    </dgm:pt>
    <dgm:pt modelId="{C8F6D146-9F67-4140-AC0E-CBBC88081C79}" type="pres">
      <dgm:prSet presAssocID="{14FBA1D2-ABF3-4F80-8FA3-E4B031FFFA9B}" presName="linNode" presStyleCnt="0"/>
      <dgm:spPr/>
    </dgm:pt>
    <dgm:pt modelId="{E84339B7-C0FD-4948-B625-6821C7080477}" type="pres">
      <dgm:prSet presAssocID="{14FBA1D2-ABF3-4F80-8FA3-E4B031FFFA9B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353102BD-52CC-493F-8201-E2C415E21CE2}" type="pres">
      <dgm:prSet presAssocID="{14FBA1D2-ABF3-4F80-8FA3-E4B031FFFA9B}" presName="descendantText" presStyleLbl="alignAccFollowNode1" presStyleIdx="1" presStyleCnt="5">
        <dgm:presLayoutVars>
          <dgm:bulletEnabled val="1"/>
        </dgm:presLayoutVars>
      </dgm:prSet>
      <dgm:spPr/>
    </dgm:pt>
    <dgm:pt modelId="{F7C65215-C059-41B8-A6DE-7A05F966EAFA}" type="pres">
      <dgm:prSet presAssocID="{8B598173-06E3-4C1E-BDEC-3AC1C08D8D0B}" presName="sp" presStyleCnt="0"/>
      <dgm:spPr/>
    </dgm:pt>
    <dgm:pt modelId="{8CE27A14-B724-4F63-9B72-11BC3D6DA1B4}" type="pres">
      <dgm:prSet presAssocID="{A68754F3-B19C-4D92-9ADE-2ADDDF98356D}" presName="linNode" presStyleCnt="0"/>
      <dgm:spPr/>
    </dgm:pt>
    <dgm:pt modelId="{8584C329-CDE8-408F-895E-6030C4F40F09}" type="pres">
      <dgm:prSet presAssocID="{A68754F3-B19C-4D92-9ADE-2ADDDF98356D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49B9C0CA-AF8E-4832-B94F-847411E49EF8}" type="pres">
      <dgm:prSet presAssocID="{A68754F3-B19C-4D92-9ADE-2ADDDF98356D}" presName="descendantText" presStyleLbl="alignAccFollowNode1" presStyleIdx="2" presStyleCnt="5">
        <dgm:presLayoutVars>
          <dgm:bulletEnabled val="1"/>
        </dgm:presLayoutVars>
      </dgm:prSet>
      <dgm:spPr/>
    </dgm:pt>
    <dgm:pt modelId="{088447CE-B8C7-4CD4-A5C8-3CF6D87BA3DC}" type="pres">
      <dgm:prSet presAssocID="{6B6BC985-4D78-4FED-B659-5980C6098C4E}" presName="sp" presStyleCnt="0"/>
      <dgm:spPr/>
    </dgm:pt>
    <dgm:pt modelId="{FCF8588C-0E36-4B53-8C1B-FF00B60096F4}" type="pres">
      <dgm:prSet presAssocID="{977A131A-F4B7-4BFB-BEEF-D184EC064A32}" presName="linNode" presStyleCnt="0"/>
      <dgm:spPr/>
    </dgm:pt>
    <dgm:pt modelId="{009DA179-350A-4914-98A4-12D8334ECE8C}" type="pres">
      <dgm:prSet presAssocID="{977A131A-F4B7-4BFB-BEEF-D184EC064A32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EA72AA98-9F7E-4E29-B3F9-18D300E39FA7}" type="pres">
      <dgm:prSet presAssocID="{977A131A-F4B7-4BFB-BEEF-D184EC064A32}" presName="descendantText" presStyleLbl="alignAccFollowNode1" presStyleIdx="3" presStyleCnt="5">
        <dgm:presLayoutVars>
          <dgm:bulletEnabled val="1"/>
        </dgm:presLayoutVars>
      </dgm:prSet>
      <dgm:spPr/>
    </dgm:pt>
    <dgm:pt modelId="{864FE485-9157-48E9-AB89-9912DAACBAA7}" type="pres">
      <dgm:prSet presAssocID="{B89A2FEE-5675-462F-924F-FCE332DAD452}" presName="sp" presStyleCnt="0"/>
      <dgm:spPr/>
    </dgm:pt>
    <dgm:pt modelId="{15882723-82B2-4EF1-AC7B-29F81CB18DCA}" type="pres">
      <dgm:prSet presAssocID="{BEE46678-860E-448F-81CE-7DBB6D090F0A}" presName="linNode" presStyleCnt="0"/>
      <dgm:spPr/>
    </dgm:pt>
    <dgm:pt modelId="{903F8C33-A485-4C64-8F03-BB4A3BF0FE91}" type="pres">
      <dgm:prSet presAssocID="{BEE46678-860E-448F-81CE-7DBB6D090F0A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B343CF23-2848-4B03-A364-E0A494E72D6B}" type="pres">
      <dgm:prSet presAssocID="{BEE46678-860E-448F-81CE-7DBB6D090F0A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F74EDA0C-2288-4FF8-8C7A-6AF3DE624D29}" type="presOf" srcId="{F67C05BA-DE0E-487E-BFC3-2A4756379804}" destId="{1AAE808B-9A77-4A6F-9508-196EDC015127}" srcOrd="0" destOrd="0" presId="urn:microsoft.com/office/officeart/2005/8/layout/vList5"/>
    <dgm:cxn modelId="{0A502E15-5A86-4067-AF06-EABE8F0DC567}" srcId="{E4921720-8ACC-4C32-84AC-311ABE703522}" destId="{BEE46678-860E-448F-81CE-7DBB6D090F0A}" srcOrd="4" destOrd="0" parTransId="{1B404FBF-5FEA-49B8-B030-F56AF2CAB68D}" sibTransId="{45F32533-397B-4E61-A22C-63CE29E85041}"/>
    <dgm:cxn modelId="{6893FB15-5CF2-43E0-84B8-E944FC208897}" type="presOf" srcId="{30A6500D-DC92-4D9E-B6A4-D1DA5C92443D}" destId="{B343CF23-2848-4B03-A364-E0A494E72D6B}" srcOrd="0" destOrd="1" presId="urn:microsoft.com/office/officeart/2005/8/layout/vList5"/>
    <dgm:cxn modelId="{27586617-5836-41FB-BA1F-C3773EE102F3}" type="presOf" srcId="{E4921720-8ACC-4C32-84AC-311ABE703522}" destId="{1AD4A83C-9225-450E-8E35-A7BC5AE0AC14}" srcOrd="0" destOrd="0" presId="urn:microsoft.com/office/officeart/2005/8/layout/vList5"/>
    <dgm:cxn modelId="{0B64E01D-0AC1-45C7-8468-D83A70670213}" type="presOf" srcId="{AA8685AF-04DA-4E4F-8FA8-95DADEABD4B3}" destId="{353102BD-52CC-493F-8201-E2C415E21CE2}" srcOrd="0" destOrd="1" presId="urn:microsoft.com/office/officeart/2005/8/layout/vList5"/>
    <dgm:cxn modelId="{4D6DEF25-5FE7-4AE0-B333-2774C169FD70}" srcId="{BEE46678-860E-448F-81CE-7DBB6D090F0A}" destId="{30A6500D-DC92-4D9E-B6A4-D1DA5C92443D}" srcOrd="1" destOrd="0" parTransId="{4EAF82D1-B9D3-4824-8F58-D3CC4A578158}" sibTransId="{F14F5E03-A995-4CAE-9F10-383B78EEB9F6}"/>
    <dgm:cxn modelId="{D8440F39-9FCC-47EB-AF90-F4FE79D3F733}" srcId="{E4921720-8ACC-4C32-84AC-311ABE703522}" destId="{977A131A-F4B7-4BFB-BEEF-D184EC064A32}" srcOrd="3" destOrd="0" parTransId="{E2520442-16E7-490D-AFCD-A88F125072AE}" sibTransId="{B89A2FEE-5675-462F-924F-FCE332DAD452}"/>
    <dgm:cxn modelId="{D61CDA3D-2679-41CD-818E-478BA1744387}" type="presOf" srcId="{8AE476FE-C1AA-4ADC-ACC1-7B14CE12DB0B}" destId="{353102BD-52CC-493F-8201-E2C415E21CE2}" srcOrd="0" destOrd="0" presId="urn:microsoft.com/office/officeart/2005/8/layout/vList5"/>
    <dgm:cxn modelId="{DE2A0960-3BA6-48F1-9345-588D32EB0D2C}" srcId="{BEE46678-860E-448F-81CE-7DBB6D090F0A}" destId="{2B001E96-5821-455F-9EBC-391BE8C3A5E7}" srcOrd="0" destOrd="0" parTransId="{3F5F4B64-575A-4253-8EA3-985D30CB8DD0}" sibTransId="{13627C4B-9D15-42F7-9803-0E1395209EDB}"/>
    <dgm:cxn modelId="{F0E09E65-B119-4960-818C-36BD1D771647}" type="presOf" srcId="{977A131A-F4B7-4BFB-BEEF-D184EC064A32}" destId="{009DA179-350A-4914-98A4-12D8334ECE8C}" srcOrd="0" destOrd="0" presId="urn:microsoft.com/office/officeart/2005/8/layout/vList5"/>
    <dgm:cxn modelId="{1BC04069-6FE7-4137-B235-60C1C4E552E8}" srcId="{A68754F3-B19C-4D92-9ADE-2ADDDF98356D}" destId="{F351620E-A2DA-46D0-830E-AD4F33BA099D}" srcOrd="0" destOrd="0" parTransId="{D51CB118-911F-474A-B17A-36FC0B98AC9C}" sibTransId="{3EE492F7-6D0F-41F9-942F-C4941F54ED88}"/>
    <dgm:cxn modelId="{286F234D-7B04-408D-B98E-D71B8CBD28DF}" type="presOf" srcId="{E5B341DF-E6F2-4187-9EFE-2B305B5C2767}" destId="{EA72AA98-9F7E-4E29-B3F9-18D300E39FA7}" srcOrd="0" destOrd="0" presId="urn:microsoft.com/office/officeart/2005/8/layout/vList5"/>
    <dgm:cxn modelId="{C578B375-D2EF-43D0-BD96-F2AB70958EC7}" srcId="{14FBA1D2-ABF3-4F80-8FA3-E4B031FFFA9B}" destId="{8AE476FE-C1AA-4ADC-ACC1-7B14CE12DB0B}" srcOrd="0" destOrd="0" parTransId="{214C4F27-40FB-4E3D-8C39-8BC5821CA720}" sibTransId="{FD9EEB6A-627C-4894-BFFF-BE81DA66D8B3}"/>
    <dgm:cxn modelId="{C5764F7C-3F0A-441F-A76A-96D601427810}" srcId="{14FBA1D2-ABF3-4F80-8FA3-E4B031FFFA9B}" destId="{AA8685AF-04DA-4E4F-8FA8-95DADEABD4B3}" srcOrd="1" destOrd="0" parTransId="{DDC5800F-B103-4181-8747-AF5CC0082B52}" sibTransId="{51862839-DC85-41AE-9307-69BAC33C59A1}"/>
    <dgm:cxn modelId="{D6F39F7D-D7AF-4016-B6C6-25866ED45828}" srcId="{E4921720-8ACC-4C32-84AC-311ABE703522}" destId="{A68754F3-B19C-4D92-9ADE-2ADDDF98356D}" srcOrd="2" destOrd="0" parTransId="{E3574888-512A-40AA-A1BE-59AC166DAD6C}" sibTransId="{6B6BC985-4D78-4FED-B659-5980C6098C4E}"/>
    <dgm:cxn modelId="{61DC4187-86AF-43BC-9066-60B9A7E190A6}" type="presOf" srcId="{2B001E96-5821-455F-9EBC-391BE8C3A5E7}" destId="{B343CF23-2848-4B03-A364-E0A494E72D6B}" srcOrd="0" destOrd="0" presId="urn:microsoft.com/office/officeart/2005/8/layout/vList5"/>
    <dgm:cxn modelId="{FFC4028D-013E-4159-8F06-5EE721AAC469}" srcId="{E4921720-8ACC-4C32-84AC-311ABE703522}" destId="{14FBA1D2-ABF3-4F80-8FA3-E4B031FFFA9B}" srcOrd="1" destOrd="0" parTransId="{AFFB7145-D2D5-496F-A234-662CE0836E04}" sibTransId="{8B598173-06E3-4C1E-BDEC-3AC1C08D8D0B}"/>
    <dgm:cxn modelId="{6B38F79B-1CBE-4BB7-963C-82B2521F8037}" type="presOf" srcId="{66C55391-55DA-4FB2-8D05-1EFF5996E0F8}" destId="{902D1EC3-A7AC-479A-96BA-2BE7192D8641}" srcOrd="0" destOrd="1" presId="urn:microsoft.com/office/officeart/2005/8/layout/vList5"/>
    <dgm:cxn modelId="{C77E09A1-4919-4F1B-B042-2152BFFF2CD6}" srcId="{E4921720-8ACC-4C32-84AC-311ABE703522}" destId="{F67C05BA-DE0E-487E-BFC3-2A4756379804}" srcOrd="0" destOrd="0" parTransId="{A3EECD85-A61E-4C9A-93B6-8922A4207620}" sibTransId="{DB186CBD-8E2D-419A-9DB9-61D6F3331700}"/>
    <dgm:cxn modelId="{39BD45B0-D724-44B4-9EBE-F1C364D44087}" srcId="{977A131A-F4B7-4BFB-BEEF-D184EC064A32}" destId="{E5B341DF-E6F2-4187-9EFE-2B305B5C2767}" srcOrd="0" destOrd="0" parTransId="{B7681A9A-D7AE-4906-B8EA-EB57CDEF6949}" sibTransId="{02DF755D-E4C1-47B1-B67F-75C8747966D5}"/>
    <dgm:cxn modelId="{552532B9-2D3D-4198-867B-9D2B48269438}" type="presOf" srcId="{BECE978D-C5E2-4B7B-8A38-1E65E350265D}" destId="{902D1EC3-A7AC-479A-96BA-2BE7192D8641}" srcOrd="0" destOrd="0" presId="urn:microsoft.com/office/officeart/2005/8/layout/vList5"/>
    <dgm:cxn modelId="{C0108FC1-A072-4C4B-B907-4228DE8F3DCF}" srcId="{14FBA1D2-ABF3-4F80-8FA3-E4B031FFFA9B}" destId="{F8EF0AC9-CB37-4572-8CFB-5BF76D38B0A8}" srcOrd="2" destOrd="0" parTransId="{A64ED5A8-8FAD-4BE3-A41D-7F3D1DCA16BC}" sibTransId="{9A6C9296-6A90-4041-A5F5-2C948462ADCA}"/>
    <dgm:cxn modelId="{AD08D7CF-4402-4949-A023-90A1357B0E9D}" srcId="{F67C05BA-DE0E-487E-BFC3-2A4756379804}" destId="{BECE978D-C5E2-4B7B-8A38-1E65E350265D}" srcOrd="0" destOrd="0" parTransId="{A30B15E8-A442-4430-A0F8-169D0BFEB84A}" sibTransId="{676DDDA2-FE54-49B3-9016-983D9C014E6E}"/>
    <dgm:cxn modelId="{8D4619D5-928A-4B8C-AF3B-963C158E5DF7}" type="presOf" srcId="{F351620E-A2DA-46D0-830E-AD4F33BA099D}" destId="{49B9C0CA-AF8E-4832-B94F-847411E49EF8}" srcOrd="0" destOrd="0" presId="urn:microsoft.com/office/officeart/2005/8/layout/vList5"/>
    <dgm:cxn modelId="{7AFFFAD7-52AE-420A-B7FC-FC76F6B66E8D}" type="presOf" srcId="{14FBA1D2-ABF3-4F80-8FA3-E4B031FFFA9B}" destId="{E84339B7-C0FD-4948-B625-6821C7080477}" srcOrd="0" destOrd="0" presId="urn:microsoft.com/office/officeart/2005/8/layout/vList5"/>
    <dgm:cxn modelId="{DD480EDC-5A45-4851-A7BC-930709773B5C}" srcId="{F67C05BA-DE0E-487E-BFC3-2A4756379804}" destId="{66C55391-55DA-4FB2-8D05-1EFF5996E0F8}" srcOrd="1" destOrd="0" parTransId="{B1F59399-ACC4-4F32-BC78-3EE73FAB59C3}" sibTransId="{3928DB8D-EA2D-4EA1-81C0-F848B8C3A158}"/>
    <dgm:cxn modelId="{6D7C97E0-B2D4-46F1-818B-10A466536F69}" type="presOf" srcId="{BEE46678-860E-448F-81CE-7DBB6D090F0A}" destId="{903F8C33-A485-4C64-8F03-BB4A3BF0FE91}" srcOrd="0" destOrd="0" presId="urn:microsoft.com/office/officeart/2005/8/layout/vList5"/>
    <dgm:cxn modelId="{3E97A8E4-E9A8-44B5-A747-1E8F4F01F97B}" type="presOf" srcId="{F8EF0AC9-CB37-4572-8CFB-5BF76D38B0A8}" destId="{353102BD-52CC-493F-8201-E2C415E21CE2}" srcOrd="0" destOrd="2" presId="urn:microsoft.com/office/officeart/2005/8/layout/vList5"/>
    <dgm:cxn modelId="{52C755FB-A534-4EBC-AE07-533EFC7854BB}" type="presOf" srcId="{A68754F3-B19C-4D92-9ADE-2ADDDF98356D}" destId="{8584C329-CDE8-408F-895E-6030C4F40F09}" srcOrd="0" destOrd="0" presId="urn:microsoft.com/office/officeart/2005/8/layout/vList5"/>
    <dgm:cxn modelId="{B3EDDB33-1699-48FC-B10C-6F584A52C3A2}" type="presParOf" srcId="{1AD4A83C-9225-450E-8E35-A7BC5AE0AC14}" destId="{81A3CF59-03B7-4C5F-A02F-A6EE6DBD6F04}" srcOrd="0" destOrd="0" presId="urn:microsoft.com/office/officeart/2005/8/layout/vList5"/>
    <dgm:cxn modelId="{98DBD7F4-3B18-4041-94FE-7A0969810052}" type="presParOf" srcId="{81A3CF59-03B7-4C5F-A02F-A6EE6DBD6F04}" destId="{1AAE808B-9A77-4A6F-9508-196EDC015127}" srcOrd="0" destOrd="0" presId="urn:microsoft.com/office/officeart/2005/8/layout/vList5"/>
    <dgm:cxn modelId="{87706F5C-09EC-4BE5-98FB-D3FA18F61B11}" type="presParOf" srcId="{81A3CF59-03B7-4C5F-A02F-A6EE6DBD6F04}" destId="{902D1EC3-A7AC-479A-96BA-2BE7192D8641}" srcOrd="1" destOrd="0" presId="urn:microsoft.com/office/officeart/2005/8/layout/vList5"/>
    <dgm:cxn modelId="{D03BD970-F77C-4142-9BC3-A892D73969F0}" type="presParOf" srcId="{1AD4A83C-9225-450E-8E35-A7BC5AE0AC14}" destId="{2414F0DE-66BB-44AB-ABB8-EB5CE3A47305}" srcOrd="1" destOrd="0" presId="urn:microsoft.com/office/officeart/2005/8/layout/vList5"/>
    <dgm:cxn modelId="{7584FF90-5B30-409D-A2C6-0FD92FF48F7A}" type="presParOf" srcId="{1AD4A83C-9225-450E-8E35-A7BC5AE0AC14}" destId="{C8F6D146-9F67-4140-AC0E-CBBC88081C79}" srcOrd="2" destOrd="0" presId="urn:microsoft.com/office/officeart/2005/8/layout/vList5"/>
    <dgm:cxn modelId="{EAE231B9-D2E0-400D-A4F1-D2E8A3A88B13}" type="presParOf" srcId="{C8F6D146-9F67-4140-AC0E-CBBC88081C79}" destId="{E84339B7-C0FD-4948-B625-6821C7080477}" srcOrd="0" destOrd="0" presId="urn:microsoft.com/office/officeart/2005/8/layout/vList5"/>
    <dgm:cxn modelId="{1F269FFA-4013-442F-907A-B5E79C052D43}" type="presParOf" srcId="{C8F6D146-9F67-4140-AC0E-CBBC88081C79}" destId="{353102BD-52CC-493F-8201-E2C415E21CE2}" srcOrd="1" destOrd="0" presId="urn:microsoft.com/office/officeart/2005/8/layout/vList5"/>
    <dgm:cxn modelId="{7357F6F1-8E66-473A-9719-C4CA85C849F3}" type="presParOf" srcId="{1AD4A83C-9225-450E-8E35-A7BC5AE0AC14}" destId="{F7C65215-C059-41B8-A6DE-7A05F966EAFA}" srcOrd="3" destOrd="0" presId="urn:microsoft.com/office/officeart/2005/8/layout/vList5"/>
    <dgm:cxn modelId="{B12C83D9-06A3-44D9-8241-88CE78F9F2C7}" type="presParOf" srcId="{1AD4A83C-9225-450E-8E35-A7BC5AE0AC14}" destId="{8CE27A14-B724-4F63-9B72-11BC3D6DA1B4}" srcOrd="4" destOrd="0" presId="urn:microsoft.com/office/officeart/2005/8/layout/vList5"/>
    <dgm:cxn modelId="{A177839C-CEE2-4C18-B5E9-4BDF05DF7E29}" type="presParOf" srcId="{8CE27A14-B724-4F63-9B72-11BC3D6DA1B4}" destId="{8584C329-CDE8-408F-895E-6030C4F40F09}" srcOrd="0" destOrd="0" presId="urn:microsoft.com/office/officeart/2005/8/layout/vList5"/>
    <dgm:cxn modelId="{C4A154A0-41BC-4E9E-850B-4BF73828125F}" type="presParOf" srcId="{8CE27A14-B724-4F63-9B72-11BC3D6DA1B4}" destId="{49B9C0CA-AF8E-4832-B94F-847411E49EF8}" srcOrd="1" destOrd="0" presId="urn:microsoft.com/office/officeart/2005/8/layout/vList5"/>
    <dgm:cxn modelId="{0B817EC0-9D90-4471-B952-C67622E6AAE2}" type="presParOf" srcId="{1AD4A83C-9225-450E-8E35-A7BC5AE0AC14}" destId="{088447CE-B8C7-4CD4-A5C8-3CF6D87BA3DC}" srcOrd="5" destOrd="0" presId="urn:microsoft.com/office/officeart/2005/8/layout/vList5"/>
    <dgm:cxn modelId="{F2EE5D6F-4892-45EE-9027-54050D995632}" type="presParOf" srcId="{1AD4A83C-9225-450E-8E35-A7BC5AE0AC14}" destId="{FCF8588C-0E36-4B53-8C1B-FF00B60096F4}" srcOrd="6" destOrd="0" presId="urn:microsoft.com/office/officeart/2005/8/layout/vList5"/>
    <dgm:cxn modelId="{1F46FD64-92D8-492B-9F28-0E00D2AE6B00}" type="presParOf" srcId="{FCF8588C-0E36-4B53-8C1B-FF00B60096F4}" destId="{009DA179-350A-4914-98A4-12D8334ECE8C}" srcOrd="0" destOrd="0" presId="urn:microsoft.com/office/officeart/2005/8/layout/vList5"/>
    <dgm:cxn modelId="{20007873-E98D-420D-9B3F-EB276BFEC828}" type="presParOf" srcId="{FCF8588C-0E36-4B53-8C1B-FF00B60096F4}" destId="{EA72AA98-9F7E-4E29-B3F9-18D300E39FA7}" srcOrd="1" destOrd="0" presId="urn:microsoft.com/office/officeart/2005/8/layout/vList5"/>
    <dgm:cxn modelId="{99CCD68D-44D7-4B84-945D-97E1728EF751}" type="presParOf" srcId="{1AD4A83C-9225-450E-8E35-A7BC5AE0AC14}" destId="{864FE485-9157-48E9-AB89-9912DAACBAA7}" srcOrd="7" destOrd="0" presId="urn:microsoft.com/office/officeart/2005/8/layout/vList5"/>
    <dgm:cxn modelId="{FCE9BB1E-AD7C-4062-8420-09FB020B8C7F}" type="presParOf" srcId="{1AD4A83C-9225-450E-8E35-A7BC5AE0AC14}" destId="{15882723-82B2-4EF1-AC7B-29F81CB18DCA}" srcOrd="8" destOrd="0" presId="urn:microsoft.com/office/officeart/2005/8/layout/vList5"/>
    <dgm:cxn modelId="{1A320196-0714-4EA1-BCC6-DCA4B19D33B7}" type="presParOf" srcId="{15882723-82B2-4EF1-AC7B-29F81CB18DCA}" destId="{903F8C33-A485-4C64-8F03-BB4A3BF0FE91}" srcOrd="0" destOrd="0" presId="urn:microsoft.com/office/officeart/2005/8/layout/vList5"/>
    <dgm:cxn modelId="{68227E17-197E-41FC-9F94-44EBD2DE05BF}" type="presParOf" srcId="{15882723-82B2-4EF1-AC7B-29F81CB18DCA}" destId="{B343CF23-2848-4B03-A364-E0A494E72D6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2D1EC3-A7AC-479A-96BA-2BE7192D8641}">
      <dsp:nvSpPr>
        <dsp:cNvPr id="0" name=""/>
        <dsp:cNvSpPr/>
      </dsp:nvSpPr>
      <dsp:spPr>
        <a:xfrm rot="5400000">
          <a:off x="6351855" y="-2670925"/>
          <a:ext cx="810523" cy="635964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Informasi</a:t>
          </a:r>
          <a:r>
            <a:rPr lang="en-US" sz="1400" kern="1200" dirty="0"/>
            <a:t> </a:t>
          </a:r>
          <a:r>
            <a:rPr lang="en-US" sz="1400" kern="1200" dirty="0" err="1"/>
            <a:t>kontak</a:t>
          </a:r>
          <a:r>
            <a:rPr lang="en-US" sz="1400" kern="1200" dirty="0"/>
            <a:t> </a:t>
          </a:r>
          <a:r>
            <a:rPr lang="en-US" sz="1400" kern="1200" dirty="0" err="1"/>
            <a:t>harus</a:t>
          </a:r>
          <a:r>
            <a:rPr lang="en-US" sz="1400" kern="1200" dirty="0"/>
            <a:t> </a:t>
          </a:r>
          <a:r>
            <a:rPr lang="en-US" sz="1400" kern="1200" dirty="0" err="1"/>
            <a:t>jelas</a:t>
          </a:r>
          <a:r>
            <a:rPr lang="en-US" sz="1400" kern="1200" dirty="0"/>
            <a:t> dan </a:t>
          </a:r>
          <a:r>
            <a:rPr lang="en-US" sz="1400" kern="1200" dirty="0" err="1"/>
            <a:t>dapat</a:t>
          </a:r>
          <a:r>
            <a:rPr lang="en-US" sz="1400" kern="1200" dirty="0"/>
            <a:t> </a:t>
          </a:r>
          <a:r>
            <a:rPr lang="en-US" sz="1400" kern="1200" dirty="0" err="1"/>
            <a:t>dihubungi</a:t>
          </a:r>
          <a:r>
            <a:rPr lang="en-US" sz="1400" kern="1200" dirty="0"/>
            <a:t> </a:t>
          </a:r>
          <a:r>
            <a:rPr lang="en-US" sz="1400" kern="1200" dirty="0" err="1"/>
            <a:t>kapanpun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Tidak </a:t>
          </a:r>
          <a:r>
            <a:rPr lang="en-US" sz="1400" kern="1200" dirty="0" err="1"/>
            <a:t>ada</a:t>
          </a:r>
          <a:r>
            <a:rPr lang="en-US" sz="1400" kern="1200" dirty="0"/>
            <a:t> </a:t>
          </a:r>
          <a:r>
            <a:rPr lang="en-US" sz="1400" kern="1200" dirty="0" err="1"/>
            <a:t>respon</a:t>
          </a:r>
          <a:r>
            <a:rPr lang="en-US" sz="1400" kern="1200" dirty="0"/>
            <a:t> dalam </a:t>
          </a:r>
          <a:r>
            <a:rPr lang="en-US" sz="1400" kern="1200" dirty="0" err="1"/>
            <a:t>jangka</a:t>
          </a:r>
          <a:r>
            <a:rPr lang="en-US" sz="1400" kern="1200" dirty="0"/>
            <a:t> </a:t>
          </a:r>
          <a:r>
            <a:rPr lang="en-US" sz="1400" kern="1200" dirty="0" err="1"/>
            <a:t>waktu</a:t>
          </a:r>
          <a:r>
            <a:rPr lang="en-US" sz="1400" kern="1200" dirty="0"/>
            <a:t> </a:t>
          </a:r>
          <a:r>
            <a:rPr lang="en-US" sz="1400" kern="1200" dirty="0" err="1"/>
            <a:t>tertentu</a:t>
          </a:r>
          <a:r>
            <a:rPr lang="en-US" sz="1400" kern="1200" dirty="0"/>
            <a:t> </a:t>
          </a:r>
          <a:r>
            <a:rPr lang="en-US" sz="1400" kern="1200" dirty="0" err="1"/>
            <a:t>dapat</a:t>
          </a:r>
          <a:r>
            <a:rPr lang="en-US" sz="1400" kern="1200" dirty="0"/>
            <a:t> </a:t>
          </a:r>
          <a:r>
            <a:rPr lang="en-US" sz="1400" kern="1200" dirty="0" err="1"/>
            <a:t>dianggap</a:t>
          </a:r>
          <a:r>
            <a:rPr lang="en-US" sz="1400" kern="1200" dirty="0"/>
            <a:t> non-responsive dan </a:t>
          </a:r>
          <a:r>
            <a:rPr lang="en-US" sz="1400" kern="1200" dirty="0" err="1"/>
            <a:t>gagal</a:t>
          </a:r>
          <a:endParaRPr lang="en-US" sz="1400" kern="1200" dirty="0"/>
        </a:p>
      </dsp:txBody>
      <dsp:txXfrm rot="-5400000">
        <a:off x="3577297" y="143199"/>
        <a:ext cx="6320074" cy="731391"/>
      </dsp:txXfrm>
    </dsp:sp>
    <dsp:sp modelId="{1AAE808B-9A77-4A6F-9508-196EDC015127}">
      <dsp:nvSpPr>
        <dsp:cNvPr id="0" name=""/>
        <dsp:cNvSpPr/>
      </dsp:nvSpPr>
      <dsp:spPr>
        <a:xfrm>
          <a:off x="0" y="2317"/>
          <a:ext cx="3577297" cy="10131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 err="1"/>
            <a:t>Kontak</a:t>
          </a:r>
          <a:r>
            <a:rPr lang="en-US" sz="1600" b="1" kern="1200" dirty="0"/>
            <a:t> PIC – email dan phone</a:t>
          </a:r>
        </a:p>
      </dsp:txBody>
      <dsp:txXfrm>
        <a:off x="49458" y="51775"/>
        <a:ext cx="3478381" cy="914238"/>
      </dsp:txXfrm>
    </dsp:sp>
    <dsp:sp modelId="{353102BD-52CC-493F-8201-E2C415E21CE2}">
      <dsp:nvSpPr>
        <dsp:cNvPr id="0" name=""/>
        <dsp:cNvSpPr/>
      </dsp:nvSpPr>
      <dsp:spPr>
        <a:xfrm rot="5400000">
          <a:off x="6351855" y="-1607112"/>
          <a:ext cx="810523" cy="635964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err="1"/>
            <a:t>Selain</a:t>
          </a:r>
          <a:r>
            <a:rPr lang="en-US" sz="1400" kern="1200"/>
            <a:t> pdf, </a:t>
          </a:r>
          <a:r>
            <a:rPr lang="en-US" sz="1400" kern="1200" dirty="0"/>
            <a:t>bidder juga </a:t>
          </a:r>
          <a:r>
            <a:rPr lang="en-US" sz="1400" kern="1200" dirty="0" err="1"/>
            <a:t>harus</a:t>
          </a:r>
          <a:r>
            <a:rPr lang="en-US" sz="1400" kern="1200" dirty="0"/>
            <a:t> </a:t>
          </a:r>
          <a:r>
            <a:rPr lang="en-US" sz="1400" kern="1200" dirty="0" err="1"/>
            <a:t>melampirkan</a:t>
          </a:r>
          <a:r>
            <a:rPr lang="en-US" sz="1400" kern="1200" dirty="0"/>
            <a:t> file excel </a:t>
          </a:r>
          <a:r>
            <a:rPr lang="en-US" sz="1400" kern="1200" dirty="0" err="1"/>
            <a:t>teknis</a:t>
          </a:r>
          <a:r>
            <a:rPr lang="en-US" sz="1400" kern="1200" dirty="0"/>
            <a:t> dan </a:t>
          </a:r>
          <a:r>
            <a:rPr lang="en-US" sz="1400" kern="1200" dirty="0" err="1"/>
            <a:t>finansial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Pastikan</a:t>
          </a:r>
          <a:r>
            <a:rPr lang="en-US" sz="1400" kern="1200" dirty="0"/>
            <a:t> </a:t>
          </a:r>
          <a:r>
            <a:rPr lang="en-US" sz="1400" kern="1200" dirty="0" err="1"/>
            <a:t>dokumen</a:t>
          </a:r>
          <a:r>
            <a:rPr lang="en-US" sz="1400" kern="1200" dirty="0"/>
            <a:t> </a:t>
          </a:r>
          <a:r>
            <a:rPr lang="en-US" sz="1400" kern="1200" dirty="0" err="1"/>
            <a:t>dapat</a:t>
          </a:r>
          <a:r>
            <a:rPr lang="en-US" sz="1400" kern="1200" dirty="0"/>
            <a:t> </a:t>
          </a:r>
          <a:r>
            <a:rPr lang="en-US" sz="1400" kern="1200" dirty="0" err="1"/>
            <a:t>dibuka</a:t>
          </a:r>
          <a:r>
            <a:rPr lang="en-US" sz="1400" kern="1200" dirty="0"/>
            <a:t> dan </a:t>
          </a:r>
          <a:r>
            <a:rPr lang="en-US" sz="1400" kern="1200" dirty="0" err="1"/>
            <a:t>tidak</a:t>
          </a:r>
          <a:r>
            <a:rPr lang="en-US" sz="1400" kern="1200" dirty="0"/>
            <a:t> </a:t>
          </a:r>
          <a:r>
            <a:rPr lang="en-US" sz="1400" kern="1200" dirty="0" err="1"/>
            <a:t>terkunci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Pisahkan</a:t>
          </a:r>
          <a:r>
            <a:rPr lang="en-US" sz="1400" kern="1200" dirty="0"/>
            <a:t> file </a:t>
          </a:r>
          <a:r>
            <a:rPr lang="en-US" sz="1400" kern="1200" dirty="0" err="1"/>
            <a:t>bagian</a:t>
          </a:r>
          <a:r>
            <a:rPr lang="en-US" sz="1400" kern="1200" dirty="0"/>
            <a:t> Teknis </a:t>
          </a:r>
          <a:r>
            <a:rPr lang="en-US" sz="1400" kern="1200" dirty="0" err="1"/>
            <a:t>dengan</a:t>
          </a:r>
          <a:r>
            <a:rPr lang="en-US" sz="1400" kern="1200" dirty="0"/>
            <a:t> </a:t>
          </a:r>
          <a:r>
            <a:rPr lang="en-US" sz="1400" kern="1200" dirty="0" err="1"/>
            <a:t>bagian</a:t>
          </a:r>
          <a:r>
            <a:rPr lang="en-US" sz="1400" kern="1200" dirty="0"/>
            <a:t> </a:t>
          </a:r>
          <a:r>
            <a:rPr lang="en-US" sz="1400" kern="1200" dirty="0" err="1"/>
            <a:t>Finansial</a:t>
          </a:r>
          <a:endParaRPr lang="en-US" sz="1400" kern="1200" dirty="0"/>
        </a:p>
      </dsp:txBody>
      <dsp:txXfrm rot="-5400000">
        <a:off x="3577297" y="1207012"/>
        <a:ext cx="6320074" cy="731391"/>
      </dsp:txXfrm>
    </dsp:sp>
    <dsp:sp modelId="{E84339B7-C0FD-4948-B625-6821C7080477}">
      <dsp:nvSpPr>
        <dsp:cNvPr id="0" name=""/>
        <dsp:cNvSpPr/>
      </dsp:nvSpPr>
      <dsp:spPr>
        <a:xfrm>
          <a:off x="0" y="1066129"/>
          <a:ext cx="3577297" cy="10131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File excel </a:t>
          </a:r>
          <a:r>
            <a:rPr lang="en-US" sz="1600" b="1" kern="1200" dirty="0" err="1"/>
            <a:t>spek</a:t>
          </a:r>
          <a:r>
            <a:rPr lang="en-US" sz="1600" b="1" kern="1200" dirty="0"/>
            <a:t> </a:t>
          </a:r>
          <a:r>
            <a:rPr lang="en-US" sz="1600" b="1" kern="1200" dirty="0" err="1"/>
            <a:t>teknis</a:t>
          </a:r>
          <a:r>
            <a:rPr lang="en-US" sz="1600" b="1" kern="1200" dirty="0"/>
            <a:t> dan </a:t>
          </a:r>
          <a:r>
            <a:rPr lang="en-US" sz="1600" b="1" kern="1200" dirty="0" err="1"/>
            <a:t>finansial</a:t>
          </a:r>
          <a:r>
            <a:rPr lang="en-US" sz="1600" b="1" kern="1200" dirty="0"/>
            <a:t> </a:t>
          </a:r>
          <a:r>
            <a:rPr lang="en-US" sz="1600" b="1" kern="1200" dirty="0" err="1"/>
            <a:t>dilampirkan</a:t>
          </a:r>
          <a:endParaRPr lang="en-US" sz="1600" b="1" kern="1200" dirty="0"/>
        </a:p>
      </dsp:txBody>
      <dsp:txXfrm>
        <a:off x="49458" y="1115587"/>
        <a:ext cx="3478381" cy="914238"/>
      </dsp:txXfrm>
    </dsp:sp>
    <dsp:sp modelId="{49B9C0CA-AF8E-4832-B94F-847411E49EF8}">
      <dsp:nvSpPr>
        <dsp:cNvPr id="0" name=""/>
        <dsp:cNvSpPr/>
      </dsp:nvSpPr>
      <dsp:spPr>
        <a:xfrm rot="5400000">
          <a:off x="6351855" y="-543300"/>
          <a:ext cx="810523" cy="635964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Bidder </a:t>
          </a:r>
          <a:r>
            <a:rPr lang="en-US" sz="1400" kern="1200" dirty="0" err="1"/>
            <a:t>menyampaikan</a:t>
          </a:r>
          <a:r>
            <a:rPr lang="en-US" sz="1400" kern="1200" dirty="0"/>
            <a:t> AATO </a:t>
          </a:r>
          <a:r>
            <a:rPr lang="en-US" sz="1400" kern="1200" dirty="0" err="1"/>
            <a:t>berupa</a:t>
          </a:r>
          <a:r>
            <a:rPr lang="en-US" sz="1400" kern="1200" dirty="0"/>
            <a:t> </a:t>
          </a:r>
          <a:r>
            <a:rPr lang="en-US" sz="1400" i="1" kern="1200" dirty="0"/>
            <a:t>financial report </a:t>
          </a:r>
          <a:r>
            <a:rPr lang="en-US" sz="1400" kern="1200" dirty="0" err="1"/>
            <a:t>dari</a:t>
          </a:r>
          <a:r>
            <a:rPr lang="en-US" sz="1400" kern="1200" dirty="0"/>
            <a:t> Bidder </a:t>
          </a:r>
          <a:r>
            <a:rPr lang="en-US" sz="1400" kern="1200" dirty="0" err="1"/>
            <a:t>maupun</a:t>
          </a:r>
          <a:r>
            <a:rPr lang="en-US" sz="1400" kern="1200" dirty="0"/>
            <a:t> </a:t>
          </a:r>
          <a:r>
            <a:rPr lang="en-US" sz="1400" kern="1200" dirty="0" err="1"/>
            <a:t>Anggota</a:t>
          </a:r>
          <a:r>
            <a:rPr lang="en-US" sz="1400" kern="1200" dirty="0"/>
            <a:t> JV </a:t>
          </a:r>
          <a:r>
            <a:rPr lang="en-US" sz="1400" b="1" kern="1200" dirty="0" err="1"/>
            <a:t>bukan</a:t>
          </a:r>
          <a:r>
            <a:rPr lang="en-US" sz="1400" b="1" kern="1200" dirty="0"/>
            <a:t> </a:t>
          </a:r>
          <a:r>
            <a:rPr lang="en-US" sz="1400" i="1" kern="1200" dirty="0"/>
            <a:t>financial report</a:t>
          </a:r>
          <a:r>
            <a:rPr lang="en-US" sz="1400" kern="1200" dirty="0"/>
            <a:t> </a:t>
          </a:r>
          <a:r>
            <a:rPr lang="en-US" sz="1400" kern="1200" dirty="0" err="1"/>
            <a:t>konsolidasi</a:t>
          </a:r>
          <a:endParaRPr lang="en-US" sz="1400" kern="1200" dirty="0"/>
        </a:p>
      </dsp:txBody>
      <dsp:txXfrm rot="-5400000">
        <a:off x="3577297" y="2270824"/>
        <a:ext cx="6320074" cy="731391"/>
      </dsp:txXfrm>
    </dsp:sp>
    <dsp:sp modelId="{8584C329-CDE8-408F-895E-6030C4F40F09}">
      <dsp:nvSpPr>
        <dsp:cNvPr id="0" name=""/>
        <dsp:cNvSpPr/>
      </dsp:nvSpPr>
      <dsp:spPr>
        <a:xfrm>
          <a:off x="0" y="2129942"/>
          <a:ext cx="3577297" cy="10131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ATO</a:t>
          </a:r>
        </a:p>
      </dsp:txBody>
      <dsp:txXfrm>
        <a:off x="49458" y="2179400"/>
        <a:ext cx="3478381" cy="914238"/>
      </dsp:txXfrm>
    </dsp:sp>
    <dsp:sp modelId="{EA72AA98-9F7E-4E29-B3F9-18D300E39FA7}">
      <dsp:nvSpPr>
        <dsp:cNvPr id="0" name=""/>
        <dsp:cNvSpPr/>
      </dsp:nvSpPr>
      <dsp:spPr>
        <a:xfrm rot="5400000">
          <a:off x="6351855" y="520512"/>
          <a:ext cx="810523" cy="635964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Bidder </a:t>
          </a:r>
          <a:r>
            <a:rPr lang="en-US" sz="1400" kern="1200" dirty="0" err="1"/>
            <a:t>hanya</a:t>
          </a:r>
          <a:r>
            <a:rPr lang="en-US" sz="1400" kern="1200" dirty="0"/>
            <a:t> </a:t>
          </a:r>
          <a:r>
            <a:rPr lang="en-US" sz="1400" kern="1200" dirty="0" err="1"/>
            <a:t>menawarkan</a:t>
          </a:r>
          <a:r>
            <a:rPr lang="en-US" sz="1400" kern="1200" dirty="0"/>
            <a:t> </a:t>
          </a:r>
          <a:r>
            <a:rPr lang="en-US" sz="1400" kern="1200" dirty="0" err="1"/>
            <a:t>barang</a:t>
          </a:r>
          <a:r>
            <a:rPr lang="en-US" sz="1400" kern="1200" dirty="0"/>
            <a:t> yang </a:t>
          </a:r>
          <a:r>
            <a:rPr lang="en-US" sz="1400" kern="1200" dirty="0" err="1"/>
            <a:t>sesuai</a:t>
          </a:r>
          <a:r>
            <a:rPr lang="en-US" sz="1400" kern="1200" dirty="0"/>
            <a:t> </a:t>
          </a:r>
          <a:r>
            <a:rPr lang="en-US" sz="1400" kern="1200" dirty="0" err="1"/>
            <a:t>dengan</a:t>
          </a:r>
          <a:r>
            <a:rPr lang="en-US" sz="1400" kern="1200" dirty="0"/>
            <a:t> </a:t>
          </a:r>
          <a:r>
            <a:rPr lang="en-US" sz="1400" kern="1200" dirty="0" err="1"/>
            <a:t>spek</a:t>
          </a:r>
          <a:r>
            <a:rPr lang="en-US" sz="1400" kern="1200" dirty="0"/>
            <a:t>, </a:t>
          </a:r>
          <a:r>
            <a:rPr lang="en-US" sz="1400" kern="1200" dirty="0" err="1"/>
            <a:t>tidak</a:t>
          </a:r>
          <a:r>
            <a:rPr lang="en-US" sz="1400" kern="1200" dirty="0"/>
            <a:t> </a:t>
          </a:r>
          <a:r>
            <a:rPr lang="en-US" sz="1400" kern="1200" dirty="0" err="1"/>
            <a:t>dapat</a:t>
          </a:r>
          <a:r>
            <a:rPr lang="en-US" sz="1400" kern="1200" dirty="0"/>
            <a:t> </a:t>
          </a:r>
          <a:r>
            <a:rPr lang="en-US" sz="1400" kern="1200" dirty="0" err="1"/>
            <a:t>memberikan</a:t>
          </a:r>
          <a:r>
            <a:rPr lang="en-US" sz="1400" kern="1200" dirty="0"/>
            <a:t> </a:t>
          </a:r>
          <a:r>
            <a:rPr lang="en-US" sz="1400" kern="1200" dirty="0" err="1"/>
            <a:t>opsi</a:t>
          </a:r>
          <a:r>
            <a:rPr lang="en-US" sz="1400" kern="1200" dirty="0"/>
            <a:t> </a:t>
          </a:r>
          <a:r>
            <a:rPr lang="en-US" sz="1400" kern="1200" dirty="0" err="1"/>
            <a:t>barang</a:t>
          </a:r>
          <a:r>
            <a:rPr lang="en-US" sz="1400" kern="1200" dirty="0"/>
            <a:t> A </a:t>
          </a:r>
          <a:r>
            <a:rPr lang="en-US" sz="1400" kern="1200" dirty="0" err="1"/>
            <a:t>atau</a:t>
          </a:r>
          <a:r>
            <a:rPr lang="en-US" sz="1400" kern="1200" dirty="0"/>
            <a:t> B</a:t>
          </a:r>
        </a:p>
      </dsp:txBody>
      <dsp:txXfrm rot="-5400000">
        <a:off x="3577297" y="3334636"/>
        <a:ext cx="6320074" cy="731391"/>
      </dsp:txXfrm>
    </dsp:sp>
    <dsp:sp modelId="{009DA179-350A-4914-98A4-12D8334ECE8C}">
      <dsp:nvSpPr>
        <dsp:cNvPr id="0" name=""/>
        <dsp:cNvSpPr/>
      </dsp:nvSpPr>
      <dsp:spPr>
        <a:xfrm>
          <a:off x="0" y="3193755"/>
          <a:ext cx="3577297" cy="10131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Tidak </a:t>
          </a:r>
          <a:r>
            <a:rPr lang="en-US" sz="1600" b="1" kern="1200" dirty="0" err="1"/>
            <a:t>boleh</a:t>
          </a:r>
          <a:r>
            <a:rPr lang="en-US" sz="1600" b="1" kern="1200" dirty="0"/>
            <a:t> </a:t>
          </a:r>
          <a:r>
            <a:rPr lang="en-US" sz="1600" b="1" i="1" kern="1200" dirty="0"/>
            <a:t>Alternative Bid</a:t>
          </a:r>
          <a:endParaRPr lang="en-US" sz="1600" i="1" kern="1200" dirty="0"/>
        </a:p>
      </dsp:txBody>
      <dsp:txXfrm>
        <a:off x="49458" y="3243213"/>
        <a:ext cx="3478381" cy="914238"/>
      </dsp:txXfrm>
    </dsp:sp>
    <dsp:sp modelId="{B343CF23-2848-4B03-A364-E0A494E72D6B}">
      <dsp:nvSpPr>
        <dsp:cNvPr id="0" name=""/>
        <dsp:cNvSpPr/>
      </dsp:nvSpPr>
      <dsp:spPr>
        <a:xfrm rot="5400000">
          <a:off x="6351855" y="1584325"/>
          <a:ext cx="810523" cy="635964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Bidder </a:t>
          </a:r>
          <a:r>
            <a:rPr lang="en-US" sz="1400" kern="1200" dirty="0" err="1"/>
            <a:t>memberikan</a:t>
          </a:r>
          <a:r>
            <a:rPr lang="en-US" sz="1400" kern="1200" dirty="0"/>
            <a:t> list </a:t>
          </a:r>
          <a:r>
            <a:rPr lang="en-US" sz="1400" kern="1200" dirty="0" err="1"/>
            <a:t>dokumen</a:t>
          </a:r>
          <a:r>
            <a:rPr lang="en-US" sz="1400" kern="1200" dirty="0"/>
            <a:t> yang </a:t>
          </a:r>
          <a:r>
            <a:rPr lang="en-US" sz="1400" kern="1200" dirty="0" err="1"/>
            <a:t>disampaikan</a:t>
          </a:r>
          <a:r>
            <a:rPr lang="en-US" sz="1400" kern="1200" dirty="0"/>
            <a:t> </a:t>
          </a:r>
          <a:r>
            <a:rPr lang="en-US" sz="1400" kern="1200" dirty="0" err="1"/>
            <a:t>dalam</a:t>
          </a:r>
          <a:r>
            <a:rPr lang="en-US" sz="1400" kern="1200" dirty="0"/>
            <a:t> </a:t>
          </a:r>
          <a:r>
            <a:rPr lang="en-US" sz="1400" kern="1200" dirty="0" err="1"/>
            <a:t>penawaran</a:t>
          </a:r>
          <a:r>
            <a:rPr lang="en-US" sz="1400" kern="1200" dirty="0"/>
            <a:t>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Bidder </a:t>
          </a:r>
          <a:r>
            <a:rPr lang="en-US" sz="1400" kern="1200" dirty="0" err="1"/>
            <a:t>memberikan</a:t>
          </a:r>
          <a:r>
            <a:rPr lang="en-US" sz="1400" kern="1200" dirty="0"/>
            <a:t> </a:t>
          </a:r>
          <a:r>
            <a:rPr lang="en-US" sz="1400" i="1" kern="1200" dirty="0"/>
            <a:t>Summary</a:t>
          </a:r>
          <a:r>
            <a:rPr lang="en-US" sz="1400" kern="1200" dirty="0"/>
            <a:t>/</a:t>
          </a:r>
          <a:r>
            <a:rPr lang="en-US" sz="1400" kern="1200" dirty="0" err="1"/>
            <a:t>ringkasan</a:t>
          </a:r>
          <a:r>
            <a:rPr lang="en-US" sz="1400" kern="1200" dirty="0"/>
            <a:t> pada </a:t>
          </a:r>
          <a:r>
            <a:rPr lang="en-US" sz="1400" kern="1200" dirty="0" err="1"/>
            <a:t>tiap</a:t>
          </a:r>
          <a:r>
            <a:rPr lang="en-US" sz="1400" kern="1200" dirty="0"/>
            <a:t> </a:t>
          </a:r>
          <a:r>
            <a:rPr lang="en-US" sz="1400" kern="1200" dirty="0" err="1"/>
            <a:t>dokumen</a:t>
          </a:r>
          <a:r>
            <a:rPr lang="en-US" sz="1400" kern="1200" dirty="0"/>
            <a:t> </a:t>
          </a:r>
          <a:r>
            <a:rPr lang="en-US" sz="1400" kern="1200" dirty="0" err="1"/>
            <a:t>kualifikasi</a:t>
          </a:r>
          <a:endParaRPr lang="en-US" sz="1400" kern="1200" dirty="0"/>
        </a:p>
      </dsp:txBody>
      <dsp:txXfrm rot="-5400000">
        <a:off x="3577297" y="4398449"/>
        <a:ext cx="6320074" cy="731391"/>
      </dsp:txXfrm>
    </dsp:sp>
    <dsp:sp modelId="{903F8C33-A485-4C64-8F03-BB4A3BF0FE91}">
      <dsp:nvSpPr>
        <dsp:cNvPr id="0" name=""/>
        <dsp:cNvSpPr/>
      </dsp:nvSpPr>
      <dsp:spPr>
        <a:xfrm>
          <a:off x="0" y="4257567"/>
          <a:ext cx="3577297" cy="10131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Bid Check List</a:t>
          </a:r>
          <a:endParaRPr lang="en-US" sz="1600" kern="1200" dirty="0"/>
        </a:p>
      </dsp:txBody>
      <dsp:txXfrm>
        <a:off x="49458" y="4307025"/>
        <a:ext cx="3478381" cy="9142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FDF9F1-2306-417F-B5F9-5D96CD0AEC44}" type="datetime3">
              <a:rPr lang="en-US" smtClean="0"/>
              <a:t>4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8391322-E377-4003-A65B-799E41A1EAD2}" type="datetime3">
              <a:rPr lang="en-US" smtClean="0"/>
              <a:t>4 May 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744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6789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6294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6197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0192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FBB5E-1FD0-42E0-5905-351E45EC6E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AA7E01-97DC-BEB8-FE6E-EE11D26AA8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37DC9D-8A45-1D04-B660-036449722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B7A339-096C-B8E4-8EEF-C0B62BB073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0197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C677DE-619D-2D29-D164-E92DC5274D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F5F602-5BFC-FAC4-7220-8496AD6EF5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A4030A-307F-6072-6061-533A919A9B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B5B64F-C310-2EA4-E059-CEBE63B97D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9026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F49B71-1222-1744-B896-004E7324A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602AF4-35B2-36EB-6209-652D726FC9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E4B2C7-6E18-95F3-0547-999E77911F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46B011-3EE6-8FD1-EDBB-EFB1FC21D5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7096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5B185-4821-DC98-0E25-C3502137C5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376F09-92F6-66D6-4D56-28D01E23FA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984A32-7BAA-620F-A016-35976F797A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 err="1"/>
              <a:t>Kontak</a:t>
            </a:r>
            <a:r>
              <a:rPr lang="en-US" sz="1100" dirty="0"/>
              <a:t> person </a:t>
            </a:r>
            <a:r>
              <a:rPr lang="en-US" sz="1100" err="1"/>
              <a:t>harus</a:t>
            </a:r>
            <a:r>
              <a:rPr lang="en-US" sz="1100"/>
              <a:t> jelas, </a:t>
            </a:r>
            <a:r>
              <a:rPr lang="en-US" sz="1100" dirty="0"/>
              <a:t>email dan phone </a:t>
            </a:r>
            <a:r>
              <a:rPr lang="en-US" sz="1100" dirty="0" err="1"/>
              <a:t>harus</a:t>
            </a:r>
            <a:r>
              <a:rPr lang="en-US" sz="1100" dirty="0"/>
              <a:t> reachable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/>
              <a:t>File excel di submit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/>
              <a:t>Tidak </a:t>
            </a:r>
            <a:r>
              <a:rPr lang="en-US" sz="1100" dirty="0" err="1"/>
              <a:t>boleh</a:t>
            </a:r>
            <a:r>
              <a:rPr lang="en-US" sz="1100" dirty="0"/>
              <a:t> alternative bid (bidder </a:t>
            </a:r>
            <a:r>
              <a:rPr lang="en-US" sz="1100" dirty="0" err="1"/>
              <a:t>menyampaikan</a:t>
            </a:r>
            <a:r>
              <a:rPr lang="en-US" sz="1100" dirty="0"/>
              <a:t> 2 </a:t>
            </a:r>
            <a:r>
              <a:rPr lang="en-US" sz="1100" dirty="0" err="1"/>
              <a:t>opsi</a:t>
            </a:r>
            <a:r>
              <a:rPr lang="en-US" sz="1100" dirty="0"/>
              <a:t> </a:t>
            </a:r>
            <a:r>
              <a:rPr lang="en-US" sz="1100" dirty="0" err="1"/>
              <a:t>alat</a:t>
            </a:r>
            <a:r>
              <a:rPr lang="en-US" sz="1100" dirty="0"/>
              <a:t>)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err="1"/>
              <a:t>Finansial</a:t>
            </a:r>
            <a:r>
              <a:rPr lang="en-US" sz="1100"/>
              <a:t> dipisah, </a:t>
            </a:r>
            <a:r>
              <a:rPr lang="en-US" sz="1100" dirty="0"/>
              <a:t>excel </a:t>
            </a:r>
            <a:r>
              <a:rPr lang="en-US" sz="1100" dirty="0" err="1"/>
              <a:t>dilengkapi</a:t>
            </a:r>
            <a:endParaRPr lang="en-US" sz="11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4382EF-306C-1FAC-410E-10DF87CF67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160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CC9DED-F936-4182-364A-79BD3716A8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17E862-3F5A-8914-525C-AFD2D11C64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53695C-2A80-BD6E-776B-C297E7A455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CCBFB9-11DC-EB8B-C25C-2F98EC4EE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981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CC9DED-F936-4182-364A-79BD3716A8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17E862-3F5A-8914-525C-AFD2D11C64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53695C-2A80-BD6E-776B-C297E7A455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CCBFB9-11DC-EB8B-C25C-2F98EC4EE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724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79301-C318-7817-013A-5EDE61F04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1E15F7-BE92-17FB-6FB2-097F88FD5C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28B562-907E-5C92-6958-BDC386D92D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A83B91-50DC-67CC-EA02-1CD08F5B6C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279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1DBC08-9FD9-B007-B7B0-889C527D14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4B0AF3-F317-8A21-307F-A7869396F0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51CED4-EA5B-D20F-EA4B-E740EF6EA4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043FFF-C3F2-AF6D-A03E-D7E0436C8C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329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C38B75-A30C-1625-2E1B-D04D03188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29C0D4-5796-FC44-6F92-B616ECE0E8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D77087-4DA9-FD9F-C514-9A4519F022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EA2EDB-14D3-C12A-2907-EF221FE55F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205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3959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6521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8AC152-D2F8-0DC7-E243-6A171D412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EEE60D-9AF9-FD09-D092-17A3264E8D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955E41-989D-5826-AA97-AB2E3F4FE0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72AF44-736C-8C43-C5FF-8D90F992E9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C9DF6B-D14E-482E-B47A-65D612547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328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10" Type="http://schemas.openxmlformats.org/officeDocument/2006/relationships/image" Target="../media/image5.jpeg"/><Relationship Id="rId4" Type="http://schemas.openxmlformats.org/officeDocument/2006/relationships/tags" Target="../tags/tag24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image" Target="../media/image3.emf"/><Relationship Id="rId4" Type="http://schemas.openxmlformats.org/officeDocument/2006/relationships/tags" Target="../tags/tag74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18.jpe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image" Target="../media/image1.emf"/><Relationship Id="rId5" Type="http://schemas.openxmlformats.org/officeDocument/2006/relationships/tags" Target="../tags/tag8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1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18.jpe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image" Target="../media/image1.emf"/><Relationship Id="rId5" Type="http://schemas.openxmlformats.org/officeDocument/2006/relationships/tags" Target="../tags/tag90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89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18.jpe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image" Target="../media/image1.emf"/><Relationship Id="rId5" Type="http://schemas.openxmlformats.org/officeDocument/2006/relationships/tags" Target="../tags/tag98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97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image" Target="../media/image18.jpe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image" Target="../media/image19.emf"/><Relationship Id="rId5" Type="http://schemas.openxmlformats.org/officeDocument/2006/relationships/tags" Target="../tags/tag106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image" Target="../media/image18.jpe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image" Target="../media/image1.emf"/><Relationship Id="rId5" Type="http://schemas.openxmlformats.org/officeDocument/2006/relationships/tags" Target="../tags/tag114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2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image" Target="../media/image18.jpeg"/><Relationship Id="rId4" Type="http://schemas.openxmlformats.org/officeDocument/2006/relationships/tags" Target="../tags/tag121.xml"/><Relationship Id="rId9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126.xml"/><Relationship Id="rId7" Type="http://schemas.openxmlformats.org/officeDocument/2006/relationships/image" Target="../media/image3.emf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2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image" Target="../media/image1.emf"/><Relationship Id="rId2" Type="http://schemas.openxmlformats.org/officeDocument/2006/relationships/tags" Target="../tags/tag131.xml"/><Relationship Id="rId16" Type="http://schemas.openxmlformats.org/officeDocument/2006/relationships/oleObject" Target="../embeddings/oleObject19.bin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10.jpeg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9.jpeg"/><Relationship Id="rId2" Type="http://schemas.openxmlformats.org/officeDocument/2006/relationships/tags" Target="../tags/tag27.xml"/><Relationship Id="rId16" Type="http://schemas.openxmlformats.org/officeDocument/2006/relationships/image" Target="../media/image13.png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8.jpeg"/><Relationship Id="rId5" Type="http://schemas.openxmlformats.org/officeDocument/2006/relationships/tags" Target="../tags/tag30.xml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tags" Target="../tags/tag29.xml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2" Type="http://schemas.openxmlformats.org/officeDocument/2006/relationships/tags" Target="../tags/tag145.xml"/><Relationship Id="rId16" Type="http://schemas.openxmlformats.org/officeDocument/2006/relationships/image" Target="../media/image1.emf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5" Type="http://schemas.openxmlformats.org/officeDocument/2006/relationships/tags" Target="../tags/tag148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153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image" Target="../media/image19.emf"/><Relationship Id="rId2" Type="http://schemas.openxmlformats.org/officeDocument/2006/relationships/tags" Target="../tags/tag158.xml"/><Relationship Id="rId16" Type="http://schemas.openxmlformats.org/officeDocument/2006/relationships/oleObject" Target="../embeddings/oleObject20.bin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5" Type="http://schemas.openxmlformats.org/officeDocument/2006/relationships/tags" Target="../tags/tag16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66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2" Type="http://schemas.openxmlformats.org/officeDocument/2006/relationships/tags" Target="../tags/tag172.xml"/><Relationship Id="rId16" Type="http://schemas.openxmlformats.org/officeDocument/2006/relationships/image" Target="../media/image1.emf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07.xml"/><Relationship Id="rId7" Type="http://schemas.openxmlformats.org/officeDocument/2006/relationships/oleObject" Target="../embeddings/oleObject23.bin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9.xml"/><Relationship Id="rId10" Type="http://schemas.openxmlformats.org/officeDocument/2006/relationships/image" Target="../media/image13.png"/><Relationship Id="rId4" Type="http://schemas.openxmlformats.org/officeDocument/2006/relationships/tags" Target="../tags/tag208.xml"/><Relationship Id="rId9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10.jpeg"/><Relationship Id="rId3" Type="http://schemas.openxmlformats.org/officeDocument/2006/relationships/tags" Target="../tags/tag212.xml"/><Relationship Id="rId7" Type="http://schemas.openxmlformats.org/officeDocument/2006/relationships/oleObject" Target="../embeddings/oleObject24.bin"/><Relationship Id="rId12" Type="http://schemas.openxmlformats.org/officeDocument/2006/relationships/image" Target="../media/image9.jpeg"/><Relationship Id="rId2" Type="http://schemas.openxmlformats.org/officeDocument/2006/relationships/tags" Target="../tags/tag211.xml"/><Relationship Id="rId16" Type="http://schemas.openxmlformats.org/officeDocument/2006/relationships/image" Target="../media/image13.png"/><Relationship Id="rId1" Type="http://schemas.openxmlformats.org/officeDocument/2006/relationships/tags" Target="../tags/tag210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8.jpeg"/><Relationship Id="rId5" Type="http://schemas.openxmlformats.org/officeDocument/2006/relationships/tags" Target="../tags/tag214.xml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tags" Target="../tags/tag213.xml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9.xml"/><Relationship Id="rId10" Type="http://schemas.openxmlformats.org/officeDocument/2006/relationships/image" Target="../media/image15.png"/><Relationship Id="rId4" Type="http://schemas.openxmlformats.org/officeDocument/2006/relationships/tags" Target="../tags/tag218.xml"/><Relationship Id="rId9" Type="http://schemas.openxmlformats.org/officeDocument/2006/relationships/image" Target="../media/image14.jpe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2.xml"/><Relationship Id="rId7" Type="http://schemas.openxmlformats.org/officeDocument/2006/relationships/oleObject" Target="../embeddings/oleObject26.bin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4.xml"/><Relationship Id="rId10" Type="http://schemas.openxmlformats.org/officeDocument/2006/relationships/image" Target="../media/image13.png"/><Relationship Id="rId4" Type="http://schemas.openxmlformats.org/officeDocument/2006/relationships/tags" Target="../tags/tag223.xml"/><Relationship Id="rId9" Type="http://schemas.openxmlformats.org/officeDocument/2006/relationships/image" Target="../media/image16.jpe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7.xml"/><Relationship Id="rId7" Type="http://schemas.openxmlformats.org/officeDocument/2006/relationships/oleObject" Target="../embeddings/oleObject27.bin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9.xml"/><Relationship Id="rId10" Type="http://schemas.openxmlformats.org/officeDocument/2006/relationships/image" Target="../media/image13.png"/><Relationship Id="rId4" Type="http://schemas.openxmlformats.org/officeDocument/2006/relationships/tags" Target="../tags/tag228.xml"/><Relationship Id="rId9" Type="http://schemas.openxmlformats.org/officeDocument/2006/relationships/image" Target="../media/image17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3.xml"/><Relationship Id="rId7" Type="http://schemas.openxmlformats.org/officeDocument/2006/relationships/oleObject" Target="../embeddings/oleObject4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0" Type="http://schemas.openxmlformats.org/officeDocument/2006/relationships/image" Target="../media/image15.png"/><Relationship Id="rId4" Type="http://schemas.openxmlformats.org/officeDocument/2006/relationships/tags" Target="../tags/tag34.xml"/><Relationship Id="rId9" Type="http://schemas.openxmlformats.org/officeDocument/2006/relationships/image" Target="../media/image14.jpe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5" Type="http://schemas.openxmlformats.org/officeDocument/2006/relationships/tags" Target="../tags/tag234.xml"/><Relationship Id="rId10" Type="http://schemas.openxmlformats.org/officeDocument/2006/relationships/image" Target="../media/image1.emf"/><Relationship Id="rId4" Type="http://schemas.openxmlformats.org/officeDocument/2006/relationships/tags" Target="../tags/tag233.xml"/><Relationship Id="rId9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5" Type="http://schemas.openxmlformats.org/officeDocument/2006/relationships/tags" Target="../tags/tag241.xml"/><Relationship Id="rId4" Type="http://schemas.openxmlformats.org/officeDocument/2006/relationships/tags" Target="../tags/tag240.xml"/><Relationship Id="rId9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4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5" Type="http://schemas.openxmlformats.org/officeDocument/2006/relationships/tags" Target="../tags/tag247.xml"/><Relationship Id="rId4" Type="http://schemas.openxmlformats.org/officeDocument/2006/relationships/tags" Target="../tags/tag246.xml"/><Relationship Id="rId9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2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Relationship Id="rId9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5" Type="http://schemas.openxmlformats.org/officeDocument/2006/relationships/tags" Target="../tags/tag259.xml"/><Relationship Id="rId10" Type="http://schemas.openxmlformats.org/officeDocument/2006/relationships/image" Target="../media/image3.emf"/><Relationship Id="rId4" Type="http://schemas.openxmlformats.org/officeDocument/2006/relationships/tags" Target="../tags/tag258.xml"/><Relationship Id="rId9" Type="http://schemas.openxmlformats.org/officeDocument/2006/relationships/oleObject" Target="../embeddings/oleObject32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69.xml"/><Relationship Id="rId3" Type="http://schemas.openxmlformats.org/officeDocument/2006/relationships/tags" Target="../tags/tag264.xml"/><Relationship Id="rId7" Type="http://schemas.openxmlformats.org/officeDocument/2006/relationships/tags" Target="../tags/tag268.xml"/><Relationship Id="rId12" Type="http://schemas.openxmlformats.org/officeDocument/2006/relationships/image" Target="../media/image2.png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11" Type="http://schemas.openxmlformats.org/officeDocument/2006/relationships/image" Target="../media/image1.emf"/><Relationship Id="rId5" Type="http://schemas.openxmlformats.org/officeDocument/2006/relationships/tags" Target="../tags/tag266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65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12" Type="http://schemas.openxmlformats.org/officeDocument/2006/relationships/image" Target="../media/image2.png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11" Type="http://schemas.openxmlformats.org/officeDocument/2006/relationships/image" Target="../media/image1.emf"/><Relationship Id="rId5" Type="http://schemas.openxmlformats.org/officeDocument/2006/relationships/tags" Target="../tags/tag274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73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image" Target="../media/image2.png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image" Target="../media/image3.emf"/><Relationship Id="rId5" Type="http://schemas.openxmlformats.org/officeDocument/2006/relationships/tags" Target="../tags/tag282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81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image" Target="../media/image2.png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11" Type="http://schemas.openxmlformats.org/officeDocument/2006/relationships/image" Target="../media/image1.emf"/><Relationship Id="rId5" Type="http://schemas.openxmlformats.org/officeDocument/2006/relationships/tags" Target="../tags/tag290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289.xml"/><Relationship Id="rId9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3" Type="http://schemas.openxmlformats.org/officeDocument/2006/relationships/tags" Target="../tags/tag296.xml"/><Relationship Id="rId7" Type="http://schemas.openxmlformats.org/officeDocument/2006/relationships/tags" Target="../tags/tag300.xml"/><Relationship Id="rId12" Type="http://schemas.openxmlformats.org/officeDocument/2006/relationships/image" Target="../media/image2.png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image" Target="../media/image3.emf"/><Relationship Id="rId5" Type="http://schemas.openxmlformats.org/officeDocument/2006/relationships/tags" Target="../tags/tag298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297.xml"/><Relationship Id="rId9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8.xml"/><Relationship Id="rId7" Type="http://schemas.openxmlformats.org/officeDocument/2006/relationships/oleObject" Target="../embeddings/oleObject5.bin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10" Type="http://schemas.openxmlformats.org/officeDocument/2006/relationships/image" Target="../media/image16.jpeg"/><Relationship Id="rId4" Type="http://schemas.openxmlformats.org/officeDocument/2006/relationships/tags" Target="../tags/tag39.xml"/><Relationship Id="rId9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30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5" Type="http://schemas.openxmlformats.org/officeDocument/2006/relationships/tags" Target="../tags/tag306.xml"/><Relationship Id="rId10" Type="http://schemas.openxmlformats.org/officeDocument/2006/relationships/image" Target="../media/image2.png"/><Relationship Id="rId4" Type="http://schemas.openxmlformats.org/officeDocument/2006/relationships/tags" Target="../tags/tag305.xml"/><Relationship Id="rId9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10.xml"/><Relationship Id="rId7" Type="http://schemas.openxmlformats.org/officeDocument/2006/relationships/image" Target="../media/image3.emf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36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38.xml"/><Relationship Id="rId10" Type="http://schemas.openxmlformats.org/officeDocument/2006/relationships/image" Target="../media/image5.jpeg"/><Relationship Id="rId4" Type="http://schemas.openxmlformats.org/officeDocument/2006/relationships/tags" Target="../tags/tag337.xml"/><Relationship Id="rId9" Type="http://schemas.openxmlformats.org/officeDocument/2006/relationships/image" Target="../media/image4.jpe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10.jpeg"/><Relationship Id="rId3" Type="http://schemas.openxmlformats.org/officeDocument/2006/relationships/tags" Target="../tags/tag341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9.jpeg"/><Relationship Id="rId2" Type="http://schemas.openxmlformats.org/officeDocument/2006/relationships/tags" Target="../tags/tag340.xml"/><Relationship Id="rId16" Type="http://schemas.openxmlformats.org/officeDocument/2006/relationships/image" Target="../media/image13.png"/><Relationship Id="rId1" Type="http://schemas.openxmlformats.org/officeDocument/2006/relationships/tags" Target="../tags/tag339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jpeg"/><Relationship Id="rId5" Type="http://schemas.openxmlformats.org/officeDocument/2006/relationships/tags" Target="../tags/tag343.xml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tags" Target="../tags/tag342.xml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6.xml"/><Relationship Id="rId7" Type="http://schemas.openxmlformats.org/officeDocument/2006/relationships/oleObject" Target="../embeddings/oleObject4.bin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48.xml"/><Relationship Id="rId10" Type="http://schemas.openxmlformats.org/officeDocument/2006/relationships/image" Target="../media/image15.png"/><Relationship Id="rId4" Type="http://schemas.openxmlformats.org/officeDocument/2006/relationships/tags" Target="../tags/tag347.xml"/><Relationship Id="rId9" Type="http://schemas.openxmlformats.org/officeDocument/2006/relationships/image" Target="../media/image14.jpe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51.xml"/><Relationship Id="rId7" Type="http://schemas.openxmlformats.org/officeDocument/2006/relationships/oleObject" Target="../embeddings/oleObject5.bin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3.xml"/><Relationship Id="rId10" Type="http://schemas.openxmlformats.org/officeDocument/2006/relationships/image" Target="../media/image16.jpeg"/><Relationship Id="rId4" Type="http://schemas.openxmlformats.org/officeDocument/2006/relationships/tags" Target="../tags/tag352.xml"/><Relationship Id="rId9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56.xml"/><Relationship Id="rId7" Type="http://schemas.openxmlformats.org/officeDocument/2006/relationships/oleObject" Target="../embeddings/oleObject6.bin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8.xml"/><Relationship Id="rId10" Type="http://schemas.openxmlformats.org/officeDocument/2006/relationships/image" Target="../media/image13.png"/><Relationship Id="rId4" Type="http://schemas.openxmlformats.org/officeDocument/2006/relationships/tags" Target="../tags/tag357.xml"/><Relationship Id="rId9" Type="http://schemas.openxmlformats.org/officeDocument/2006/relationships/image" Target="../media/image17.jpe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61.xml"/><Relationship Id="rId7" Type="http://schemas.openxmlformats.org/officeDocument/2006/relationships/tags" Target="../tags/tag365.xml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tags" Target="../tags/tag364.xml"/><Relationship Id="rId5" Type="http://schemas.openxmlformats.org/officeDocument/2006/relationships/tags" Target="../tags/tag363.xml"/><Relationship Id="rId10" Type="http://schemas.openxmlformats.org/officeDocument/2006/relationships/image" Target="../media/image1.emf"/><Relationship Id="rId4" Type="http://schemas.openxmlformats.org/officeDocument/2006/relationships/tags" Target="../tags/tag362.xml"/><Relationship Id="rId9" Type="http://schemas.openxmlformats.org/officeDocument/2006/relationships/oleObject" Target="../embeddings/oleObject7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6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tags" Target="../tags/tag371.xml"/><Relationship Id="rId5" Type="http://schemas.openxmlformats.org/officeDocument/2006/relationships/tags" Target="../tags/tag370.xml"/><Relationship Id="rId4" Type="http://schemas.openxmlformats.org/officeDocument/2006/relationships/tags" Target="../tags/tag369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3.xml"/><Relationship Id="rId7" Type="http://schemas.openxmlformats.org/officeDocument/2006/relationships/oleObject" Target="../embeddings/oleObject6.bin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10" Type="http://schemas.openxmlformats.org/officeDocument/2006/relationships/image" Target="../media/image13.png"/><Relationship Id="rId4" Type="http://schemas.openxmlformats.org/officeDocument/2006/relationships/tags" Target="../tags/tag44.xml"/><Relationship Id="rId9" Type="http://schemas.openxmlformats.org/officeDocument/2006/relationships/image" Target="../media/image17.jpe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7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5" Type="http://schemas.openxmlformats.org/officeDocument/2006/relationships/tags" Target="../tags/tag376.xml"/><Relationship Id="rId4" Type="http://schemas.openxmlformats.org/officeDocument/2006/relationships/tags" Target="../tags/tag375.xml"/><Relationship Id="rId9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8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9.xml"/><Relationship Id="rId1" Type="http://schemas.openxmlformats.org/officeDocument/2006/relationships/tags" Target="../tags/tag378.xml"/><Relationship Id="rId6" Type="http://schemas.openxmlformats.org/officeDocument/2006/relationships/tags" Target="../tags/tag383.xml"/><Relationship Id="rId5" Type="http://schemas.openxmlformats.org/officeDocument/2006/relationships/tags" Target="../tags/tag382.xml"/><Relationship Id="rId4" Type="http://schemas.openxmlformats.org/officeDocument/2006/relationships/tags" Target="../tags/tag381.xml"/><Relationship Id="rId9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tags" Target="../tags/tag389.xml"/><Relationship Id="rId5" Type="http://schemas.openxmlformats.org/officeDocument/2006/relationships/tags" Target="../tags/tag388.xml"/><Relationship Id="rId10" Type="http://schemas.openxmlformats.org/officeDocument/2006/relationships/image" Target="../media/image3.emf"/><Relationship Id="rId4" Type="http://schemas.openxmlformats.org/officeDocument/2006/relationships/tags" Target="../tags/tag387.xml"/><Relationship Id="rId9" Type="http://schemas.openxmlformats.org/officeDocument/2006/relationships/oleObject" Target="../embeddings/oleObject11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image" Target="../media/image18.jpe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image" Target="../media/image1.emf"/><Relationship Id="rId5" Type="http://schemas.openxmlformats.org/officeDocument/2006/relationships/tags" Target="../tags/tag3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394.xml"/><Relationship Id="rId9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406.xml"/><Relationship Id="rId3" Type="http://schemas.openxmlformats.org/officeDocument/2006/relationships/tags" Target="../tags/tag401.xml"/><Relationship Id="rId7" Type="http://schemas.openxmlformats.org/officeDocument/2006/relationships/tags" Target="../tags/tag405.xml"/><Relationship Id="rId12" Type="http://schemas.openxmlformats.org/officeDocument/2006/relationships/image" Target="../media/image18.jpeg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6" Type="http://schemas.openxmlformats.org/officeDocument/2006/relationships/tags" Target="../tags/tag404.xml"/><Relationship Id="rId11" Type="http://schemas.openxmlformats.org/officeDocument/2006/relationships/image" Target="../media/image1.emf"/><Relationship Id="rId5" Type="http://schemas.openxmlformats.org/officeDocument/2006/relationships/tags" Target="../tags/tag403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402.xml"/><Relationship Id="rId9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414.xml"/><Relationship Id="rId3" Type="http://schemas.openxmlformats.org/officeDocument/2006/relationships/tags" Target="../tags/tag409.xml"/><Relationship Id="rId7" Type="http://schemas.openxmlformats.org/officeDocument/2006/relationships/tags" Target="../tags/tag413.xml"/><Relationship Id="rId12" Type="http://schemas.openxmlformats.org/officeDocument/2006/relationships/image" Target="../media/image18.jpeg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tags" Target="../tags/tag412.xml"/><Relationship Id="rId11" Type="http://schemas.openxmlformats.org/officeDocument/2006/relationships/image" Target="../media/image1.emf"/><Relationship Id="rId5" Type="http://schemas.openxmlformats.org/officeDocument/2006/relationships/tags" Target="../tags/tag41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410.xml"/><Relationship Id="rId9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12" Type="http://schemas.openxmlformats.org/officeDocument/2006/relationships/image" Target="../media/image18.jpeg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tags" Target="../tags/tag420.xml"/><Relationship Id="rId11" Type="http://schemas.openxmlformats.org/officeDocument/2006/relationships/image" Target="../media/image19.emf"/><Relationship Id="rId5" Type="http://schemas.openxmlformats.org/officeDocument/2006/relationships/tags" Target="../tags/tag419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418.xml"/><Relationship Id="rId9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430.xml"/><Relationship Id="rId3" Type="http://schemas.openxmlformats.org/officeDocument/2006/relationships/tags" Target="../tags/tag425.xml"/><Relationship Id="rId7" Type="http://schemas.openxmlformats.org/officeDocument/2006/relationships/tags" Target="../tags/tag429.xml"/><Relationship Id="rId12" Type="http://schemas.openxmlformats.org/officeDocument/2006/relationships/image" Target="../media/image18.jpeg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6" Type="http://schemas.openxmlformats.org/officeDocument/2006/relationships/tags" Target="../tags/tag428.xml"/><Relationship Id="rId11" Type="http://schemas.openxmlformats.org/officeDocument/2006/relationships/image" Target="../media/image1.emf"/><Relationship Id="rId5" Type="http://schemas.openxmlformats.org/officeDocument/2006/relationships/tags" Target="../tags/tag42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426.xml"/><Relationship Id="rId9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43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5" Type="http://schemas.openxmlformats.org/officeDocument/2006/relationships/tags" Target="../tags/tag435.xml"/><Relationship Id="rId10" Type="http://schemas.openxmlformats.org/officeDocument/2006/relationships/image" Target="../media/image18.jpeg"/><Relationship Id="rId4" Type="http://schemas.openxmlformats.org/officeDocument/2006/relationships/tags" Target="../tags/tag434.xml"/><Relationship Id="rId9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439.xml"/><Relationship Id="rId7" Type="http://schemas.openxmlformats.org/officeDocument/2006/relationships/image" Target="../media/image3.emf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4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1.emf"/><Relationship Id="rId4" Type="http://schemas.openxmlformats.org/officeDocument/2006/relationships/tags" Target="../tags/tag49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image" Target="../media/image2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13" Type="http://schemas.openxmlformats.org/officeDocument/2006/relationships/tags" Target="../tags/tag455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12" Type="http://schemas.openxmlformats.org/officeDocument/2006/relationships/tags" Target="../tags/tag454.xml"/><Relationship Id="rId17" Type="http://schemas.openxmlformats.org/officeDocument/2006/relationships/image" Target="../media/image1.emf"/><Relationship Id="rId2" Type="http://schemas.openxmlformats.org/officeDocument/2006/relationships/tags" Target="../tags/tag444.xml"/><Relationship Id="rId16" Type="http://schemas.openxmlformats.org/officeDocument/2006/relationships/oleObject" Target="../embeddings/oleObject19.bin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11" Type="http://schemas.openxmlformats.org/officeDocument/2006/relationships/tags" Target="../tags/tag453.xml"/><Relationship Id="rId5" Type="http://schemas.openxmlformats.org/officeDocument/2006/relationships/tags" Target="../tags/tag44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52.xml"/><Relationship Id="rId4" Type="http://schemas.openxmlformats.org/officeDocument/2006/relationships/tags" Target="../tags/tag446.xml"/><Relationship Id="rId9" Type="http://schemas.openxmlformats.org/officeDocument/2006/relationships/tags" Target="../tags/tag451.xml"/><Relationship Id="rId14" Type="http://schemas.openxmlformats.org/officeDocument/2006/relationships/tags" Target="../tags/tag45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464.xml"/><Relationship Id="rId13" Type="http://schemas.openxmlformats.org/officeDocument/2006/relationships/tags" Target="../tags/tag469.xml"/><Relationship Id="rId3" Type="http://schemas.openxmlformats.org/officeDocument/2006/relationships/tags" Target="../tags/tag459.xml"/><Relationship Id="rId7" Type="http://schemas.openxmlformats.org/officeDocument/2006/relationships/tags" Target="../tags/tag463.xml"/><Relationship Id="rId12" Type="http://schemas.openxmlformats.org/officeDocument/2006/relationships/tags" Target="../tags/tag468.xml"/><Relationship Id="rId2" Type="http://schemas.openxmlformats.org/officeDocument/2006/relationships/tags" Target="../tags/tag458.xml"/><Relationship Id="rId16" Type="http://schemas.openxmlformats.org/officeDocument/2006/relationships/image" Target="../media/image1.emf"/><Relationship Id="rId1" Type="http://schemas.openxmlformats.org/officeDocument/2006/relationships/tags" Target="../tags/tag457.xml"/><Relationship Id="rId6" Type="http://schemas.openxmlformats.org/officeDocument/2006/relationships/tags" Target="../tags/tag462.xml"/><Relationship Id="rId11" Type="http://schemas.openxmlformats.org/officeDocument/2006/relationships/tags" Target="../tags/tag467.xml"/><Relationship Id="rId5" Type="http://schemas.openxmlformats.org/officeDocument/2006/relationships/tags" Target="../tags/tag461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466.xml"/><Relationship Id="rId4" Type="http://schemas.openxmlformats.org/officeDocument/2006/relationships/tags" Target="../tags/tag460.xml"/><Relationship Id="rId9" Type="http://schemas.openxmlformats.org/officeDocument/2006/relationships/tags" Target="../tags/tag465.xml"/><Relationship Id="rId1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13" Type="http://schemas.openxmlformats.org/officeDocument/2006/relationships/tags" Target="../tags/tag482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12" Type="http://schemas.openxmlformats.org/officeDocument/2006/relationships/tags" Target="../tags/tag481.xml"/><Relationship Id="rId17" Type="http://schemas.openxmlformats.org/officeDocument/2006/relationships/image" Target="../media/image19.emf"/><Relationship Id="rId2" Type="http://schemas.openxmlformats.org/officeDocument/2006/relationships/tags" Target="../tags/tag471.xml"/><Relationship Id="rId16" Type="http://schemas.openxmlformats.org/officeDocument/2006/relationships/oleObject" Target="../embeddings/oleObject20.bin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11" Type="http://schemas.openxmlformats.org/officeDocument/2006/relationships/tags" Target="../tags/tag480.xml"/><Relationship Id="rId5" Type="http://schemas.openxmlformats.org/officeDocument/2006/relationships/tags" Target="../tags/tag474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79.xml"/><Relationship Id="rId4" Type="http://schemas.openxmlformats.org/officeDocument/2006/relationships/tags" Target="../tags/tag473.xml"/><Relationship Id="rId9" Type="http://schemas.openxmlformats.org/officeDocument/2006/relationships/tags" Target="../tags/tag478.xml"/><Relationship Id="rId14" Type="http://schemas.openxmlformats.org/officeDocument/2006/relationships/tags" Target="../tags/tag48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491.xml"/><Relationship Id="rId13" Type="http://schemas.openxmlformats.org/officeDocument/2006/relationships/tags" Target="../tags/tag496.xml"/><Relationship Id="rId3" Type="http://schemas.openxmlformats.org/officeDocument/2006/relationships/tags" Target="../tags/tag486.xml"/><Relationship Id="rId7" Type="http://schemas.openxmlformats.org/officeDocument/2006/relationships/tags" Target="../tags/tag490.xml"/><Relationship Id="rId12" Type="http://schemas.openxmlformats.org/officeDocument/2006/relationships/tags" Target="../tags/tag495.xml"/><Relationship Id="rId2" Type="http://schemas.openxmlformats.org/officeDocument/2006/relationships/tags" Target="../tags/tag485.xml"/><Relationship Id="rId16" Type="http://schemas.openxmlformats.org/officeDocument/2006/relationships/image" Target="../media/image1.emf"/><Relationship Id="rId1" Type="http://schemas.openxmlformats.org/officeDocument/2006/relationships/tags" Target="../tags/tag484.xml"/><Relationship Id="rId6" Type="http://schemas.openxmlformats.org/officeDocument/2006/relationships/tags" Target="../tags/tag489.xml"/><Relationship Id="rId11" Type="http://schemas.openxmlformats.org/officeDocument/2006/relationships/tags" Target="../tags/tag494.xml"/><Relationship Id="rId5" Type="http://schemas.openxmlformats.org/officeDocument/2006/relationships/tags" Target="../tags/tag488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493.xml"/><Relationship Id="rId4" Type="http://schemas.openxmlformats.org/officeDocument/2006/relationships/tags" Target="../tags/tag487.xml"/><Relationship Id="rId9" Type="http://schemas.openxmlformats.org/officeDocument/2006/relationships/tags" Target="../tags/tag492.xml"/><Relationship Id="rId14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19.xml"/><Relationship Id="rId7" Type="http://schemas.openxmlformats.org/officeDocument/2006/relationships/oleObject" Target="../embeddings/oleObject2.bin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21.xml"/><Relationship Id="rId10" Type="http://schemas.openxmlformats.org/officeDocument/2006/relationships/image" Target="../media/image5.jpeg"/><Relationship Id="rId4" Type="http://schemas.openxmlformats.org/officeDocument/2006/relationships/tags" Target="../tags/tag520.xml"/><Relationship Id="rId9" Type="http://schemas.openxmlformats.org/officeDocument/2006/relationships/image" Target="../media/image4.jpe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10.jpeg"/><Relationship Id="rId3" Type="http://schemas.openxmlformats.org/officeDocument/2006/relationships/tags" Target="../tags/tag524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9.jpeg"/><Relationship Id="rId2" Type="http://schemas.openxmlformats.org/officeDocument/2006/relationships/tags" Target="../tags/tag523.xml"/><Relationship Id="rId16" Type="http://schemas.openxmlformats.org/officeDocument/2006/relationships/image" Target="../media/image13.png"/><Relationship Id="rId1" Type="http://schemas.openxmlformats.org/officeDocument/2006/relationships/tags" Target="../tags/tag522.xml"/><Relationship Id="rId6" Type="http://schemas.openxmlformats.org/officeDocument/2006/relationships/slideMaster" Target="../slideMasters/slideMaster4.xml"/><Relationship Id="rId11" Type="http://schemas.openxmlformats.org/officeDocument/2006/relationships/image" Target="../media/image8.jpeg"/><Relationship Id="rId5" Type="http://schemas.openxmlformats.org/officeDocument/2006/relationships/tags" Target="../tags/tag526.xml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tags" Target="../tags/tag525.xml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29.xml"/><Relationship Id="rId7" Type="http://schemas.openxmlformats.org/officeDocument/2006/relationships/oleObject" Target="../embeddings/oleObject4.bin"/><Relationship Id="rId2" Type="http://schemas.openxmlformats.org/officeDocument/2006/relationships/tags" Target="../tags/tag528.xml"/><Relationship Id="rId1" Type="http://schemas.openxmlformats.org/officeDocument/2006/relationships/tags" Target="../tags/tag52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31.xml"/><Relationship Id="rId10" Type="http://schemas.openxmlformats.org/officeDocument/2006/relationships/image" Target="../media/image15.png"/><Relationship Id="rId4" Type="http://schemas.openxmlformats.org/officeDocument/2006/relationships/tags" Target="../tags/tag530.xml"/><Relationship Id="rId9" Type="http://schemas.openxmlformats.org/officeDocument/2006/relationships/image" Target="../media/image14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34.xml"/><Relationship Id="rId7" Type="http://schemas.openxmlformats.org/officeDocument/2006/relationships/oleObject" Target="../embeddings/oleObject5.bin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36.xml"/><Relationship Id="rId10" Type="http://schemas.openxmlformats.org/officeDocument/2006/relationships/image" Target="../media/image16.jpeg"/><Relationship Id="rId4" Type="http://schemas.openxmlformats.org/officeDocument/2006/relationships/tags" Target="../tags/tag535.xml"/><Relationship Id="rId9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39.xml"/><Relationship Id="rId7" Type="http://schemas.openxmlformats.org/officeDocument/2006/relationships/oleObject" Target="../embeddings/oleObject6.bin"/><Relationship Id="rId2" Type="http://schemas.openxmlformats.org/officeDocument/2006/relationships/tags" Target="../tags/tag538.xml"/><Relationship Id="rId1" Type="http://schemas.openxmlformats.org/officeDocument/2006/relationships/tags" Target="../tags/tag53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41.xml"/><Relationship Id="rId10" Type="http://schemas.openxmlformats.org/officeDocument/2006/relationships/image" Target="../media/image13.png"/><Relationship Id="rId4" Type="http://schemas.openxmlformats.org/officeDocument/2006/relationships/tags" Target="../tags/tag540.xml"/><Relationship Id="rId9" Type="http://schemas.openxmlformats.org/officeDocument/2006/relationships/image" Target="../media/image17.jpeg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tags" Target="../tags/tag547.xml"/><Relationship Id="rId5" Type="http://schemas.openxmlformats.org/officeDocument/2006/relationships/tags" Target="../tags/tag546.xml"/><Relationship Id="rId10" Type="http://schemas.openxmlformats.org/officeDocument/2006/relationships/image" Target="../media/image1.emf"/><Relationship Id="rId4" Type="http://schemas.openxmlformats.org/officeDocument/2006/relationships/tags" Target="../tags/tag545.xml"/><Relationship Id="rId9" Type="http://schemas.openxmlformats.org/officeDocument/2006/relationships/oleObject" Target="../embeddings/oleObject7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5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tags" Target="../tags/tag554.xml"/><Relationship Id="rId5" Type="http://schemas.openxmlformats.org/officeDocument/2006/relationships/tags" Target="../tags/tag553.xml"/><Relationship Id="rId4" Type="http://schemas.openxmlformats.org/officeDocument/2006/relationships/tags" Target="../tags/tag552.xml"/><Relationship Id="rId9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55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56.xml"/><Relationship Id="rId1" Type="http://schemas.openxmlformats.org/officeDocument/2006/relationships/tags" Target="../tags/tag555.xml"/><Relationship Id="rId6" Type="http://schemas.openxmlformats.org/officeDocument/2006/relationships/tags" Target="../tags/tag560.xml"/><Relationship Id="rId5" Type="http://schemas.openxmlformats.org/officeDocument/2006/relationships/tags" Target="../tags/tag559.xml"/><Relationship Id="rId4" Type="http://schemas.openxmlformats.org/officeDocument/2006/relationships/tags" Target="../tags/tag558.xml"/><Relationship Id="rId9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56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62.xml"/><Relationship Id="rId1" Type="http://schemas.openxmlformats.org/officeDocument/2006/relationships/tags" Target="../tags/tag561.xml"/><Relationship Id="rId6" Type="http://schemas.openxmlformats.org/officeDocument/2006/relationships/tags" Target="../tags/tag566.xml"/><Relationship Id="rId5" Type="http://schemas.openxmlformats.org/officeDocument/2006/relationships/tags" Target="../tags/tag565.xml"/><Relationship Id="rId4" Type="http://schemas.openxmlformats.org/officeDocument/2006/relationships/tags" Target="../tags/tag564.xml"/><Relationship Id="rId9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5" Type="http://schemas.openxmlformats.org/officeDocument/2006/relationships/tags" Target="../tags/tag571.xml"/><Relationship Id="rId10" Type="http://schemas.openxmlformats.org/officeDocument/2006/relationships/image" Target="../media/image3.emf"/><Relationship Id="rId4" Type="http://schemas.openxmlformats.org/officeDocument/2006/relationships/tags" Target="../tags/tag570.xml"/><Relationship Id="rId9" Type="http://schemas.openxmlformats.org/officeDocument/2006/relationships/oleObject" Target="../embeddings/oleObject11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581.xml"/><Relationship Id="rId3" Type="http://schemas.openxmlformats.org/officeDocument/2006/relationships/tags" Target="../tags/tag576.xml"/><Relationship Id="rId7" Type="http://schemas.openxmlformats.org/officeDocument/2006/relationships/tags" Target="../tags/tag580.xml"/><Relationship Id="rId12" Type="http://schemas.openxmlformats.org/officeDocument/2006/relationships/image" Target="../media/image18.jpeg"/><Relationship Id="rId2" Type="http://schemas.openxmlformats.org/officeDocument/2006/relationships/tags" Target="../tags/tag575.xml"/><Relationship Id="rId1" Type="http://schemas.openxmlformats.org/officeDocument/2006/relationships/tags" Target="../tags/tag574.xml"/><Relationship Id="rId6" Type="http://schemas.openxmlformats.org/officeDocument/2006/relationships/tags" Target="../tags/tag579.xml"/><Relationship Id="rId11" Type="http://schemas.openxmlformats.org/officeDocument/2006/relationships/image" Target="../media/image1.emf"/><Relationship Id="rId5" Type="http://schemas.openxmlformats.org/officeDocument/2006/relationships/tags" Target="../tags/tag578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577.xml"/><Relationship Id="rId9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589.xml"/><Relationship Id="rId3" Type="http://schemas.openxmlformats.org/officeDocument/2006/relationships/tags" Target="../tags/tag584.xml"/><Relationship Id="rId7" Type="http://schemas.openxmlformats.org/officeDocument/2006/relationships/tags" Target="../tags/tag588.xml"/><Relationship Id="rId12" Type="http://schemas.openxmlformats.org/officeDocument/2006/relationships/image" Target="../media/image18.jpeg"/><Relationship Id="rId2" Type="http://schemas.openxmlformats.org/officeDocument/2006/relationships/tags" Target="../tags/tag583.xml"/><Relationship Id="rId1" Type="http://schemas.openxmlformats.org/officeDocument/2006/relationships/tags" Target="../tags/tag582.xml"/><Relationship Id="rId6" Type="http://schemas.openxmlformats.org/officeDocument/2006/relationships/tags" Target="../tags/tag587.xml"/><Relationship Id="rId11" Type="http://schemas.openxmlformats.org/officeDocument/2006/relationships/image" Target="../media/image1.emf"/><Relationship Id="rId5" Type="http://schemas.openxmlformats.org/officeDocument/2006/relationships/tags" Target="../tags/tag586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585.xml"/><Relationship Id="rId9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597.xml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12" Type="http://schemas.openxmlformats.org/officeDocument/2006/relationships/image" Target="../media/image18.jpeg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tags" Target="../tags/tag595.xml"/><Relationship Id="rId11" Type="http://schemas.openxmlformats.org/officeDocument/2006/relationships/image" Target="../media/image1.emf"/><Relationship Id="rId5" Type="http://schemas.openxmlformats.org/officeDocument/2006/relationships/tags" Target="../tags/tag594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593.xml"/><Relationship Id="rId9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image" Target="../media/image3.emf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05.xml"/><Relationship Id="rId3" Type="http://schemas.openxmlformats.org/officeDocument/2006/relationships/tags" Target="../tags/tag600.xml"/><Relationship Id="rId7" Type="http://schemas.openxmlformats.org/officeDocument/2006/relationships/tags" Target="../tags/tag604.xml"/><Relationship Id="rId12" Type="http://schemas.openxmlformats.org/officeDocument/2006/relationships/image" Target="../media/image18.jpeg"/><Relationship Id="rId2" Type="http://schemas.openxmlformats.org/officeDocument/2006/relationships/tags" Target="../tags/tag599.xml"/><Relationship Id="rId1" Type="http://schemas.openxmlformats.org/officeDocument/2006/relationships/tags" Target="../tags/tag598.xml"/><Relationship Id="rId6" Type="http://schemas.openxmlformats.org/officeDocument/2006/relationships/tags" Target="../tags/tag603.xml"/><Relationship Id="rId11" Type="http://schemas.openxmlformats.org/officeDocument/2006/relationships/image" Target="../media/image19.emf"/><Relationship Id="rId5" Type="http://schemas.openxmlformats.org/officeDocument/2006/relationships/tags" Target="../tags/tag602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601.xml"/><Relationship Id="rId9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613.xml"/><Relationship Id="rId3" Type="http://schemas.openxmlformats.org/officeDocument/2006/relationships/tags" Target="../tags/tag608.xml"/><Relationship Id="rId7" Type="http://schemas.openxmlformats.org/officeDocument/2006/relationships/tags" Target="../tags/tag612.xml"/><Relationship Id="rId12" Type="http://schemas.openxmlformats.org/officeDocument/2006/relationships/image" Target="../media/image18.jpeg"/><Relationship Id="rId2" Type="http://schemas.openxmlformats.org/officeDocument/2006/relationships/tags" Target="../tags/tag607.xml"/><Relationship Id="rId1" Type="http://schemas.openxmlformats.org/officeDocument/2006/relationships/tags" Target="../tags/tag606.xml"/><Relationship Id="rId6" Type="http://schemas.openxmlformats.org/officeDocument/2006/relationships/tags" Target="../tags/tag611.xml"/><Relationship Id="rId11" Type="http://schemas.openxmlformats.org/officeDocument/2006/relationships/image" Target="../media/image1.emf"/><Relationship Id="rId5" Type="http://schemas.openxmlformats.org/officeDocument/2006/relationships/tags" Target="../tags/tag610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609.xml"/><Relationship Id="rId9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616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615.xml"/><Relationship Id="rId1" Type="http://schemas.openxmlformats.org/officeDocument/2006/relationships/tags" Target="../tags/tag614.xml"/><Relationship Id="rId6" Type="http://schemas.openxmlformats.org/officeDocument/2006/relationships/tags" Target="../tags/tag619.xml"/><Relationship Id="rId5" Type="http://schemas.openxmlformats.org/officeDocument/2006/relationships/tags" Target="../tags/tag618.xml"/><Relationship Id="rId10" Type="http://schemas.openxmlformats.org/officeDocument/2006/relationships/image" Target="../media/image18.jpeg"/><Relationship Id="rId4" Type="http://schemas.openxmlformats.org/officeDocument/2006/relationships/tags" Target="../tags/tag617.xml"/><Relationship Id="rId9" Type="http://schemas.openxmlformats.org/officeDocument/2006/relationships/image" Target="../media/image3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622.xml"/><Relationship Id="rId7" Type="http://schemas.openxmlformats.org/officeDocument/2006/relationships/image" Target="../media/image3.emf"/><Relationship Id="rId2" Type="http://schemas.openxmlformats.org/officeDocument/2006/relationships/tags" Target="../tags/tag621.xml"/><Relationship Id="rId1" Type="http://schemas.openxmlformats.org/officeDocument/2006/relationships/tags" Target="../tags/tag62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62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6" Type="http://schemas.openxmlformats.org/officeDocument/2006/relationships/image" Target="../media/image2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633.xml"/><Relationship Id="rId13" Type="http://schemas.openxmlformats.org/officeDocument/2006/relationships/tags" Target="../tags/tag638.xml"/><Relationship Id="rId3" Type="http://schemas.openxmlformats.org/officeDocument/2006/relationships/tags" Target="../tags/tag628.xml"/><Relationship Id="rId7" Type="http://schemas.openxmlformats.org/officeDocument/2006/relationships/tags" Target="../tags/tag632.xml"/><Relationship Id="rId12" Type="http://schemas.openxmlformats.org/officeDocument/2006/relationships/tags" Target="../tags/tag637.xml"/><Relationship Id="rId17" Type="http://schemas.openxmlformats.org/officeDocument/2006/relationships/image" Target="../media/image1.emf"/><Relationship Id="rId2" Type="http://schemas.openxmlformats.org/officeDocument/2006/relationships/tags" Target="../tags/tag627.xml"/><Relationship Id="rId16" Type="http://schemas.openxmlformats.org/officeDocument/2006/relationships/oleObject" Target="../embeddings/oleObject19.bin"/><Relationship Id="rId1" Type="http://schemas.openxmlformats.org/officeDocument/2006/relationships/tags" Target="../tags/tag626.xml"/><Relationship Id="rId6" Type="http://schemas.openxmlformats.org/officeDocument/2006/relationships/tags" Target="../tags/tag631.xml"/><Relationship Id="rId11" Type="http://schemas.openxmlformats.org/officeDocument/2006/relationships/tags" Target="../tags/tag636.xml"/><Relationship Id="rId5" Type="http://schemas.openxmlformats.org/officeDocument/2006/relationships/tags" Target="../tags/tag630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635.xml"/><Relationship Id="rId4" Type="http://schemas.openxmlformats.org/officeDocument/2006/relationships/tags" Target="../tags/tag629.xml"/><Relationship Id="rId9" Type="http://schemas.openxmlformats.org/officeDocument/2006/relationships/tags" Target="../tags/tag634.xml"/><Relationship Id="rId14" Type="http://schemas.openxmlformats.org/officeDocument/2006/relationships/tags" Target="../tags/tag639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647.xml"/><Relationship Id="rId13" Type="http://schemas.openxmlformats.org/officeDocument/2006/relationships/tags" Target="../tags/tag652.xml"/><Relationship Id="rId3" Type="http://schemas.openxmlformats.org/officeDocument/2006/relationships/tags" Target="../tags/tag642.xml"/><Relationship Id="rId7" Type="http://schemas.openxmlformats.org/officeDocument/2006/relationships/tags" Target="../tags/tag646.xml"/><Relationship Id="rId12" Type="http://schemas.openxmlformats.org/officeDocument/2006/relationships/tags" Target="../tags/tag651.xml"/><Relationship Id="rId2" Type="http://schemas.openxmlformats.org/officeDocument/2006/relationships/tags" Target="../tags/tag641.xml"/><Relationship Id="rId16" Type="http://schemas.openxmlformats.org/officeDocument/2006/relationships/image" Target="../media/image1.emf"/><Relationship Id="rId1" Type="http://schemas.openxmlformats.org/officeDocument/2006/relationships/tags" Target="../tags/tag640.xml"/><Relationship Id="rId6" Type="http://schemas.openxmlformats.org/officeDocument/2006/relationships/tags" Target="../tags/tag645.xml"/><Relationship Id="rId11" Type="http://schemas.openxmlformats.org/officeDocument/2006/relationships/tags" Target="../tags/tag650.xml"/><Relationship Id="rId5" Type="http://schemas.openxmlformats.org/officeDocument/2006/relationships/tags" Target="../tags/tag644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649.xml"/><Relationship Id="rId4" Type="http://schemas.openxmlformats.org/officeDocument/2006/relationships/tags" Target="../tags/tag643.xml"/><Relationship Id="rId9" Type="http://schemas.openxmlformats.org/officeDocument/2006/relationships/tags" Target="../tags/tag648.xml"/><Relationship Id="rId1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660.xml"/><Relationship Id="rId13" Type="http://schemas.openxmlformats.org/officeDocument/2006/relationships/tags" Target="../tags/tag665.xml"/><Relationship Id="rId3" Type="http://schemas.openxmlformats.org/officeDocument/2006/relationships/tags" Target="../tags/tag655.xml"/><Relationship Id="rId7" Type="http://schemas.openxmlformats.org/officeDocument/2006/relationships/tags" Target="../tags/tag659.xml"/><Relationship Id="rId12" Type="http://schemas.openxmlformats.org/officeDocument/2006/relationships/tags" Target="../tags/tag664.xml"/><Relationship Id="rId17" Type="http://schemas.openxmlformats.org/officeDocument/2006/relationships/image" Target="../media/image19.emf"/><Relationship Id="rId2" Type="http://schemas.openxmlformats.org/officeDocument/2006/relationships/tags" Target="../tags/tag654.xml"/><Relationship Id="rId16" Type="http://schemas.openxmlformats.org/officeDocument/2006/relationships/oleObject" Target="../embeddings/oleObject20.bin"/><Relationship Id="rId1" Type="http://schemas.openxmlformats.org/officeDocument/2006/relationships/tags" Target="../tags/tag653.xml"/><Relationship Id="rId6" Type="http://schemas.openxmlformats.org/officeDocument/2006/relationships/tags" Target="../tags/tag658.xml"/><Relationship Id="rId11" Type="http://schemas.openxmlformats.org/officeDocument/2006/relationships/tags" Target="../tags/tag663.xml"/><Relationship Id="rId5" Type="http://schemas.openxmlformats.org/officeDocument/2006/relationships/tags" Target="../tags/tag657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662.xml"/><Relationship Id="rId4" Type="http://schemas.openxmlformats.org/officeDocument/2006/relationships/tags" Target="../tags/tag656.xml"/><Relationship Id="rId9" Type="http://schemas.openxmlformats.org/officeDocument/2006/relationships/tags" Target="../tags/tag661.xml"/><Relationship Id="rId14" Type="http://schemas.openxmlformats.org/officeDocument/2006/relationships/tags" Target="../tags/tag666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674.xml"/><Relationship Id="rId13" Type="http://schemas.openxmlformats.org/officeDocument/2006/relationships/tags" Target="../tags/tag679.xml"/><Relationship Id="rId3" Type="http://schemas.openxmlformats.org/officeDocument/2006/relationships/tags" Target="../tags/tag669.xml"/><Relationship Id="rId7" Type="http://schemas.openxmlformats.org/officeDocument/2006/relationships/tags" Target="../tags/tag673.xml"/><Relationship Id="rId12" Type="http://schemas.openxmlformats.org/officeDocument/2006/relationships/tags" Target="../tags/tag678.xml"/><Relationship Id="rId2" Type="http://schemas.openxmlformats.org/officeDocument/2006/relationships/tags" Target="../tags/tag668.xml"/><Relationship Id="rId16" Type="http://schemas.openxmlformats.org/officeDocument/2006/relationships/image" Target="../media/image1.emf"/><Relationship Id="rId1" Type="http://schemas.openxmlformats.org/officeDocument/2006/relationships/tags" Target="../tags/tag667.xml"/><Relationship Id="rId6" Type="http://schemas.openxmlformats.org/officeDocument/2006/relationships/tags" Target="../tags/tag672.xml"/><Relationship Id="rId11" Type="http://schemas.openxmlformats.org/officeDocument/2006/relationships/tags" Target="../tags/tag677.xml"/><Relationship Id="rId5" Type="http://schemas.openxmlformats.org/officeDocument/2006/relationships/tags" Target="../tags/tag671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676.xml"/><Relationship Id="rId4" Type="http://schemas.openxmlformats.org/officeDocument/2006/relationships/tags" Target="../tags/tag670.xml"/><Relationship Id="rId9" Type="http://schemas.openxmlformats.org/officeDocument/2006/relationships/tags" Target="../tags/tag675.xml"/><Relationship Id="rId1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6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9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119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9C9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760F18C-4F47-48F9-976D-8AFC442270C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4" name="Picture 577">
            <a:extLst>
              <a:ext uri="{FF2B5EF4-FFF2-40B4-BE49-F238E27FC236}">
                <a16:creationId xmlns:a16="http://schemas.microsoft.com/office/drawing/2014/main" id="{0355C810-0E7D-404A-AB9D-745F75A586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14559" y="431058"/>
            <a:ext cx="2638502" cy="119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Documenttype">
            <a:extLst>
              <a:ext uri="{FF2B5EF4-FFF2-40B4-BE49-F238E27FC236}">
                <a16:creationId xmlns:a16="http://schemas.microsoft.com/office/drawing/2014/main" id="{4202F850-7676-42BC-BB11-EE2C86D5DC1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1B000492-7DCA-4D81-AB60-AF471CD07CC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683D8B4D-213E-49A1-898C-82F6C79029D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59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9638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1F3D1A44-C4DE-4309-9CD1-EAC714DD93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00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BF1AF695-4F9A-4CE6-943D-9DEF155CB6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90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3" name="Picture 577">
            <a:extLst>
              <a:ext uri="{FF2B5EF4-FFF2-40B4-BE49-F238E27FC236}">
                <a16:creationId xmlns:a16="http://schemas.microsoft.com/office/drawing/2014/main" id="{B9830461-AA98-4F8E-8046-CE3DAE7EB9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50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>
                <a:solidFill>
                  <a:schemeClr val="tx1"/>
                </a:solidFill>
              </a:rPr>
              <a:t>Sumber</a:t>
            </a:r>
            <a:r>
              <a:rPr lang="en-US" sz="800">
                <a:solidFill>
                  <a:schemeClr val="tx1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CC95F7CE-8CC0-48E2-A463-44EACD9C14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281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umb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4B4EAE61-BF75-4CF2-AEBB-3160B71C81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67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577">
            <a:extLst>
              <a:ext uri="{FF2B5EF4-FFF2-40B4-BE49-F238E27FC236}">
                <a16:creationId xmlns:a16="http://schemas.microsoft.com/office/drawing/2014/main" id="{3AED4D0D-E5E6-49D3-9994-37CFCE8DB3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01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Picture 577">
            <a:extLst>
              <a:ext uri="{FF2B5EF4-FFF2-40B4-BE49-F238E27FC236}">
                <a16:creationId xmlns:a16="http://schemas.microsoft.com/office/drawing/2014/main" id="{822DD78D-5066-4160-93CD-8DB2680DA2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6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pic>
        <p:nvPicPr>
          <p:cNvPr id="6" name="Picture 577">
            <a:extLst>
              <a:ext uri="{FF2B5EF4-FFF2-40B4-BE49-F238E27FC236}">
                <a16:creationId xmlns:a16="http://schemas.microsoft.com/office/drawing/2014/main" id="{423201DB-9CC9-4745-91E6-B00E72B4E7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384" y="2818435"/>
            <a:ext cx="2697234" cy="1221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87010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42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ED643B1-662F-4C4B-BDB0-DD9B33B41F7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781C1EA-EFAA-4B34-942A-E2180417B072}"/>
              </a:ext>
            </a:extLst>
          </p:cNvPr>
          <p:cNvGrpSpPr/>
          <p:nvPr userDrawn="1"/>
        </p:nvGrpSpPr>
        <p:grpSpPr bwMode="ltGray">
          <a:xfrm>
            <a:off x="5920935" y="25805"/>
            <a:ext cx="6271065" cy="6806391"/>
            <a:chOff x="5920935" y="25805"/>
            <a:chExt cx="6271065" cy="6806391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1163D05-4CF6-4DDE-B4A7-43214FB120EB}"/>
                </a:ext>
              </a:extLst>
            </p:cNvPr>
            <p:cNvGrpSpPr/>
            <p:nvPr/>
          </p:nvGrpSpPr>
          <p:grpSpPr bwMode="ltGray">
            <a:xfrm>
              <a:off x="5920935" y="25806"/>
              <a:ext cx="6271065" cy="6806390"/>
              <a:chOff x="-7837089" y="-634999"/>
              <a:chExt cx="6271065" cy="680639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EB0D0E86-378C-4238-A2FC-B498B35BCBE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4682" y="-634999"/>
                <a:ext cx="2152513" cy="3260921"/>
              </a:xfrm>
              <a:custGeom>
                <a:avLst/>
                <a:gdLst>
                  <a:gd name="connsiteX0" fmla="*/ 1046402 w 2152513"/>
                  <a:gd name="connsiteY0" fmla="*/ 11 h 3260921"/>
                  <a:gd name="connsiteX1" fmla="*/ 1344627 w 2152513"/>
                  <a:gd name="connsiteY1" fmla="*/ 19207 h 3260921"/>
                  <a:gd name="connsiteX2" fmla="*/ 1393381 w 2152513"/>
                  <a:gd name="connsiteY2" fmla="*/ 34495 h 3260921"/>
                  <a:gd name="connsiteX3" fmla="*/ 1435735 w 2152513"/>
                  <a:gd name="connsiteY3" fmla="*/ 49965 h 3260921"/>
                  <a:gd name="connsiteX4" fmla="*/ 1453078 w 2152513"/>
                  <a:gd name="connsiteY4" fmla="*/ 55385 h 3260921"/>
                  <a:gd name="connsiteX5" fmla="*/ 1480807 w 2152513"/>
                  <a:gd name="connsiteY5" fmla="*/ 63733 h 3260921"/>
                  <a:gd name="connsiteX6" fmla="*/ 1556924 w 2152513"/>
                  <a:gd name="connsiteY6" fmla="*/ 101822 h 3260921"/>
                  <a:gd name="connsiteX7" fmla="*/ 1640195 w 2152513"/>
                  <a:gd name="connsiteY7" fmla="*/ 148243 h 3260921"/>
                  <a:gd name="connsiteX8" fmla="*/ 1646112 w 2152513"/>
                  <a:gd name="connsiteY8" fmla="*/ 152891 h 3260921"/>
                  <a:gd name="connsiteX9" fmla="*/ 1713325 w 2152513"/>
                  <a:gd name="connsiteY9" fmla="*/ 195835 h 3260921"/>
                  <a:gd name="connsiteX10" fmla="*/ 1752938 w 2152513"/>
                  <a:gd name="connsiteY10" fmla="*/ 227200 h 3260921"/>
                  <a:gd name="connsiteX11" fmla="*/ 1914433 w 2152513"/>
                  <a:gd name="connsiteY11" fmla="*/ 387678 h 3260921"/>
                  <a:gd name="connsiteX12" fmla="*/ 1943380 w 2152513"/>
                  <a:gd name="connsiteY12" fmla="*/ 424979 h 3260921"/>
                  <a:gd name="connsiteX13" fmla="*/ 1963186 w 2152513"/>
                  <a:gd name="connsiteY13" fmla="*/ 456445 h 3260921"/>
                  <a:gd name="connsiteX14" fmla="*/ 1967867 w 2152513"/>
                  <a:gd name="connsiteY14" fmla="*/ 464710 h 3260921"/>
                  <a:gd name="connsiteX15" fmla="*/ 2011940 w 2152513"/>
                  <a:gd name="connsiteY15" fmla="*/ 535327 h 3260921"/>
                  <a:gd name="connsiteX16" fmla="*/ 2016922 w 2152513"/>
                  <a:gd name="connsiteY16" fmla="*/ 543934 h 3260921"/>
                  <a:gd name="connsiteX17" fmla="*/ 2041717 w 2152513"/>
                  <a:gd name="connsiteY17" fmla="*/ 588625 h 3260921"/>
                  <a:gd name="connsiteX18" fmla="*/ 2067207 w 2152513"/>
                  <a:gd name="connsiteY18" fmla="*/ 641866 h 3260921"/>
                  <a:gd name="connsiteX19" fmla="*/ 2072882 w 2152513"/>
                  <a:gd name="connsiteY19" fmla="*/ 661673 h 3260921"/>
                  <a:gd name="connsiteX20" fmla="*/ 2078297 w 2152513"/>
                  <a:gd name="connsiteY20" fmla="*/ 670896 h 3260921"/>
                  <a:gd name="connsiteX21" fmla="*/ 2087856 w 2152513"/>
                  <a:gd name="connsiteY21" fmla="*/ 692976 h 3260921"/>
                  <a:gd name="connsiteX22" fmla="*/ 2097626 w 2152513"/>
                  <a:gd name="connsiteY22" fmla="*/ 724970 h 3260921"/>
                  <a:gd name="connsiteX23" fmla="*/ 2149597 w 2152513"/>
                  <a:gd name="connsiteY23" fmla="*/ 1030452 h 3260921"/>
                  <a:gd name="connsiteX24" fmla="*/ 2152513 w 2152513"/>
                  <a:gd name="connsiteY24" fmla="*/ 1112724 h 3260921"/>
                  <a:gd name="connsiteX25" fmla="*/ 1822380 w 2152513"/>
                  <a:gd name="connsiteY25" fmla="*/ 1444856 h 3260921"/>
                  <a:gd name="connsiteX26" fmla="*/ 8537 w 2152513"/>
                  <a:gd name="connsiteY26" fmla="*/ 3260921 h 3260921"/>
                  <a:gd name="connsiteX27" fmla="*/ 831 w 2152513"/>
                  <a:gd name="connsiteY27" fmla="*/ 3256350 h 3260921"/>
                  <a:gd name="connsiteX28" fmla="*/ 7775 w 2152513"/>
                  <a:gd name="connsiteY28" fmla="*/ 908569 h 3260921"/>
                  <a:gd name="connsiteX29" fmla="*/ 17111 w 2152513"/>
                  <a:gd name="connsiteY29" fmla="*/ 847628 h 3260921"/>
                  <a:gd name="connsiteX30" fmla="*/ 25348 w 2152513"/>
                  <a:gd name="connsiteY30" fmla="*/ 814109 h 3260921"/>
                  <a:gd name="connsiteX31" fmla="*/ 34506 w 2152513"/>
                  <a:gd name="connsiteY31" fmla="*/ 783638 h 3260921"/>
                  <a:gd name="connsiteX32" fmla="*/ 73896 w 2152513"/>
                  <a:gd name="connsiteY32" fmla="*/ 661755 h 3260921"/>
                  <a:gd name="connsiteX33" fmla="*/ 82410 w 2152513"/>
                  <a:gd name="connsiteY33" fmla="*/ 638902 h 3260921"/>
                  <a:gd name="connsiteX34" fmla="*/ 92391 w 2152513"/>
                  <a:gd name="connsiteY34" fmla="*/ 622143 h 3260921"/>
                  <a:gd name="connsiteX35" fmla="*/ 98369 w 2152513"/>
                  <a:gd name="connsiteY35" fmla="*/ 609519 h 3260921"/>
                  <a:gd name="connsiteX36" fmla="*/ 107510 w 2152513"/>
                  <a:gd name="connsiteY36" fmla="*/ 587754 h 3260921"/>
                  <a:gd name="connsiteX37" fmla="*/ 116652 w 2152513"/>
                  <a:gd name="connsiteY37" fmla="*/ 566860 h 3260921"/>
                  <a:gd name="connsiteX38" fmla="*/ 122335 w 2152513"/>
                  <a:gd name="connsiteY38" fmla="*/ 555107 h 3260921"/>
                  <a:gd name="connsiteX39" fmla="*/ 132345 w 2152513"/>
                  <a:gd name="connsiteY39" fmla="*/ 541475 h 3260921"/>
                  <a:gd name="connsiteX40" fmla="*/ 173023 w 2152513"/>
                  <a:gd name="connsiteY40" fmla="*/ 476899 h 3260921"/>
                  <a:gd name="connsiteX41" fmla="*/ 177594 w 2152513"/>
                  <a:gd name="connsiteY41" fmla="*/ 468956 h 3260921"/>
                  <a:gd name="connsiteX42" fmla="*/ 315623 w 2152513"/>
                  <a:gd name="connsiteY42" fmla="*/ 301936 h 3260921"/>
                  <a:gd name="connsiteX43" fmla="*/ 529646 w 2152513"/>
                  <a:gd name="connsiteY43" fmla="*/ 133262 h 3260921"/>
                  <a:gd name="connsiteX44" fmla="*/ 696823 w 2152513"/>
                  <a:gd name="connsiteY44" fmla="*/ 55385 h 3260921"/>
                  <a:gd name="connsiteX45" fmla="*/ 711138 w 2152513"/>
                  <a:gd name="connsiteY45" fmla="*/ 49907 h 3260921"/>
                  <a:gd name="connsiteX46" fmla="*/ 860141 w 2152513"/>
                  <a:gd name="connsiteY46" fmla="*/ 9371 h 3260921"/>
                  <a:gd name="connsiteX47" fmla="*/ 1046402 w 2152513"/>
                  <a:gd name="connsiteY47" fmla="*/ 11 h 3260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152513" h="3260921">
                    <a:moveTo>
                      <a:pt x="1046402" y="11"/>
                    </a:moveTo>
                    <a:cubicBezTo>
                      <a:pt x="1173979" y="-320"/>
                      <a:pt x="1316094" y="6946"/>
                      <a:pt x="1344627" y="19207"/>
                    </a:cubicBezTo>
                    <a:cubicBezTo>
                      <a:pt x="1351331" y="22087"/>
                      <a:pt x="1373270" y="28967"/>
                      <a:pt x="1393381" y="34495"/>
                    </a:cubicBezTo>
                    <a:cubicBezTo>
                      <a:pt x="1413492" y="40022"/>
                      <a:pt x="1432551" y="46984"/>
                      <a:pt x="1435735" y="49965"/>
                    </a:cubicBezTo>
                    <a:cubicBezTo>
                      <a:pt x="1438920" y="52946"/>
                      <a:pt x="1446724" y="55385"/>
                      <a:pt x="1453078" y="55385"/>
                    </a:cubicBezTo>
                    <a:cubicBezTo>
                      <a:pt x="1459432" y="55385"/>
                      <a:pt x="1471910" y="59142"/>
                      <a:pt x="1480807" y="63733"/>
                    </a:cubicBezTo>
                    <a:cubicBezTo>
                      <a:pt x="1489703" y="68325"/>
                      <a:pt x="1523956" y="85465"/>
                      <a:pt x="1556924" y="101822"/>
                    </a:cubicBezTo>
                    <a:cubicBezTo>
                      <a:pt x="1641062" y="143568"/>
                      <a:pt x="1640195" y="143084"/>
                      <a:pt x="1640195" y="148243"/>
                    </a:cubicBezTo>
                    <a:cubicBezTo>
                      <a:pt x="1640195" y="150800"/>
                      <a:pt x="1642857" y="152891"/>
                      <a:pt x="1646112" y="152891"/>
                    </a:cubicBezTo>
                    <a:cubicBezTo>
                      <a:pt x="1651432" y="152891"/>
                      <a:pt x="1705844" y="187656"/>
                      <a:pt x="1713325" y="195835"/>
                    </a:cubicBezTo>
                    <a:cubicBezTo>
                      <a:pt x="1715001" y="197667"/>
                      <a:pt x="1732827" y="211781"/>
                      <a:pt x="1752938" y="227200"/>
                    </a:cubicBezTo>
                    <a:cubicBezTo>
                      <a:pt x="1785900" y="252472"/>
                      <a:pt x="1891515" y="357421"/>
                      <a:pt x="1914433" y="387678"/>
                    </a:cubicBezTo>
                    <a:cubicBezTo>
                      <a:pt x="1919461" y="394315"/>
                      <a:pt x="1932487" y="411101"/>
                      <a:pt x="1943380" y="424979"/>
                    </a:cubicBezTo>
                    <a:cubicBezTo>
                      <a:pt x="1954274" y="438858"/>
                      <a:pt x="1963186" y="453018"/>
                      <a:pt x="1963186" y="456445"/>
                    </a:cubicBezTo>
                    <a:cubicBezTo>
                      <a:pt x="1963186" y="459874"/>
                      <a:pt x="1965293" y="463593"/>
                      <a:pt x="1967867" y="464710"/>
                    </a:cubicBezTo>
                    <a:cubicBezTo>
                      <a:pt x="1974580" y="467623"/>
                      <a:pt x="2011940" y="527483"/>
                      <a:pt x="2011940" y="535327"/>
                    </a:cubicBezTo>
                    <a:cubicBezTo>
                      <a:pt x="2011940" y="538944"/>
                      <a:pt x="2014182" y="542817"/>
                      <a:pt x="2016922" y="543934"/>
                    </a:cubicBezTo>
                    <a:cubicBezTo>
                      <a:pt x="2019662" y="545051"/>
                      <a:pt x="2030819" y="565162"/>
                      <a:pt x="2041717" y="588625"/>
                    </a:cubicBezTo>
                    <a:cubicBezTo>
                      <a:pt x="2052615" y="612088"/>
                      <a:pt x="2064085" y="636046"/>
                      <a:pt x="2067207" y="641866"/>
                    </a:cubicBezTo>
                    <a:cubicBezTo>
                      <a:pt x="2070328" y="647686"/>
                      <a:pt x="2072882" y="656600"/>
                      <a:pt x="2072882" y="661673"/>
                    </a:cubicBezTo>
                    <a:cubicBezTo>
                      <a:pt x="2072882" y="666746"/>
                      <a:pt x="2075318" y="670896"/>
                      <a:pt x="2078297" y="670896"/>
                    </a:cubicBezTo>
                    <a:cubicBezTo>
                      <a:pt x="2081277" y="670896"/>
                      <a:pt x="2085578" y="680833"/>
                      <a:pt x="2087856" y="692976"/>
                    </a:cubicBezTo>
                    <a:cubicBezTo>
                      <a:pt x="2090134" y="705120"/>
                      <a:pt x="2094531" y="719518"/>
                      <a:pt x="2097626" y="724970"/>
                    </a:cubicBezTo>
                    <a:cubicBezTo>
                      <a:pt x="2119965" y="764324"/>
                      <a:pt x="2145479" y="914295"/>
                      <a:pt x="2149597" y="1030452"/>
                    </a:cubicBezTo>
                    <a:lnTo>
                      <a:pt x="2152513" y="1112724"/>
                    </a:lnTo>
                    <a:lnTo>
                      <a:pt x="1822380" y="1444856"/>
                    </a:lnTo>
                    <a:cubicBezTo>
                      <a:pt x="440587" y="2835020"/>
                      <a:pt x="15207" y="3260921"/>
                      <a:pt x="8537" y="3260921"/>
                    </a:cubicBezTo>
                    <a:cubicBezTo>
                      <a:pt x="4315" y="3260921"/>
                      <a:pt x="848" y="3258864"/>
                      <a:pt x="831" y="3256350"/>
                    </a:cubicBezTo>
                    <a:cubicBezTo>
                      <a:pt x="-2131" y="2820850"/>
                      <a:pt x="3452" y="932747"/>
                      <a:pt x="7775" y="908569"/>
                    </a:cubicBezTo>
                    <a:cubicBezTo>
                      <a:pt x="11071" y="890135"/>
                      <a:pt x="15271" y="862710"/>
                      <a:pt x="17111" y="847628"/>
                    </a:cubicBezTo>
                    <a:cubicBezTo>
                      <a:pt x="18949" y="832544"/>
                      <a:pt x="22655" y="817461"/>
                      <a:pt x="25348" y="814109"/>
                    </a:cubicBezTo>
                    <a:cubicBezTo>
                      <a:pt x="28040" y="810758"/>
                      <a:pt x="32160" y="797045"/>
                      <a:pt x="34506" y="783638"/>
                    </a:cubicBezTo>
                    <a:cubicBezTo>
                      <a:pt x="39220" y="756682"/>
                      <a:pt x="66799" y="671345"/>
                      <a:pt x="73896" y="661755"/>
                    </a:cubicBezTo>
                    <a:cubicBezTo>
                      <a:pt x="76376" y="658403"/>
                      <a:pt x="80208" y="648119"/>
                      <a:pt x="82410" y="638902"/>
                    </a:cubicBezTo>
                    <a:cubicBezTo>
                      <a:pt x="84611" y="629684"/>
                      <a:pt x="89103" y="622143"/>
                      <a:pt x="92391" y="622143"/>
                    </a:cubicBezTo>
                    <a:cubicBezTo>
                      <a:pt x="95679" y="622143"/>
                      <a:pt x="98369" y="616462"/>
                      <a:pt x="98369" y="609519"/>
                    </a:cubicBezTo>
                    <a:cubicBezTo>
                      <a:pt x="98369" y="602576"/>
                      <a:pt x="102482" y="592782"/>
                      <a:pt x="107510" y="587754"/>
                    </a:cubicBezTo>
                    <a:cubicBezTo>
                      <a:pt x="112537" y="582727"/>
                      <a:pt x="116652" y="573324"/>
                      <a:pt x="116652" y="566860"/>
                    </a:cubicBezTo>
                    <a:cubicBezTo>
                      <a:pt x="116652" y="560396"/>
                      <a:pt x="119209" y="555107"/>
                      <a:pt x="122335" y="555107"/>
                    </a:cubicBezTo>
                    <a:cubicBezTo>
                      <a:pt x="125461" y="555107"/>
                      <a:pt x="129965" y="548973"/>
                      <a:pt x="132345" y="541475"/>
                    </a:cubicBezTo>
                    <a:cubicBezTo>
                      <a:pt x="137320" y="525800"/>
                      <a:pt x="166219" y="479922"/>
                      <a:pt x="173023" y="476899"/>
                    </a:cubicBezTo>
                    <a:cubicBezTo>
                      <a:pt x="175536" y="475781"/>
                      <a:pt x="177594" y="472207"/>
                      <a:pt x="177594" y="468956"/>
                    </a:cubicBezTo>
                    <a:cubicBezTo>
                      <a:pt x="177594" y="454932"/>
                      <a:pt x="248430" y="369217"/>
                      <a:pt x="315623" y="301936"/>
                    </a:cubicBezTo>
                    <a:cubicBezTo>
                      <a:pt x="382576" y="234897"/>
                      <a:pt x="473835" y="162973"/>
                      <a:pt x="529646" y="133262"/>
                    </a:cubicBezTo>
                    <a:cubicBezTo>
                      <a:pt x="615696" y="87451"/>
                      <a:pt x="684533" y="55385"/>
                      <a:pt x="696823" y="55385"/>
                    </a:cubicBezTo>
                    <a:cubicBezTo>
                      <a:pt x="701512" y="55385"/>
                      <a:pt x="707954" y="52919"/>
                      <a:pt x="711138" y="49907"/>
                    </a:cubicBezTo>
                    <a:cubicBezTo>
                      <a:pt x="720348" y="41194"/>
                      <a:pt x="803618" y="18540"/>
                      <a:pt x="860141" y="9371"/>
                    </a:cubicBezTo>
                    <a:cubicBezTo>
                      <a:pt x="898545" y="3142"/>
                      <a:pt x="969857" y="209"/>
                      <a:pt x="1046402" y="1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DC7B063B-97FA-4EA5-9D0F-094D258A90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64500"/>
                <a:ext cx="1712951" cy="2451369"/>
              </a:xfrm>
              <a:custGeom>
                <a:avLst/>
                <a:gdLst>
                  <a:gd name="connsiteX0" fmla="*/ 737602 w 1712951"/>
                  <a:gd name="connsiteY0" fmla="*/ 1 h 2451369"/>
                  <a:gd name="connsiteX1" fmla="*/ 917173 w 1712951"/>
                  <a:gd name="connsiteY1" fmla="*/ 11709 h 2451369"/>
                  <a:gd name="connsiteX2" fmla="*/ 984209 w 1712951"/>
                  <a:gd name="connsiteY2" fmla="*/ 28486 h 2451369"/>
                  <a:gd name="connsiteX3" fmla="*/ 1020774 w 1712951"/>
                  <a:gd name="connsiteY3" fmla="*/ 39222 h 2451369"/>
                  <a:gd name="connsiteX4" fmla="*/ 1048040 w 1712951"/>
                  <a:gd name="connsiteY4" fmla="*/ 47945 h 2451369"/>
                  <a:gd name="connsiteX5" fmla="*/ 1284311 w 1712951"/>
                  <a:gd name="connsiteY5" fmla="*/ 165647 h 2451369"/>
                  <a:gd name="connsiteX6" fmla="*/ 1465649 w 1712951"/>
                  <a:gd name="connsiteY6" fmla="*/ 323290 h 2451369"/>
                  <a:gd name="connsiteX7" fmla="*/ 1506657 w 1712951"/>
                  <a:gd name="connsiteY7" fmla="*/ 371266 h 2451369"/>
                  <a:gd name="connsiteX8" fmla="*/ 1532968 w 1712951"/>
                  <a:gd name="connsiteY8" fmla="*/ 406715 h 2451369"/>
                  <a:gd name="connsiteX9" fmla="*/ 1542237 w 1712951"/>
                  <a:gd name="connsiteY9" fmla="*/ 417379 h 2451369"/>
                  <a:gd name="connsiteX10" fmla="*/ 1547921 w 1712951"/>
                  <a:gd name="connsiteY10" fmla="*/ 422779 h 2451369"/>
                  <a:gd name="connsiteX11" fmla="*/ 1572297 w 1712951"/>
                  <a:gd name="connsiteY11" fmla="*/ 464683 h 2451369"/>
                  <a:gd name="connsiteX12" fmla="*/ 1596674 w 1712951"/>
                  <a:gd name="connsiteY12" fmla="*/ 508036 h 2451369"/>
                  <a:gd name="connsiteX13" fmla="*/ 1602768 w 1712951"/>
                  <a:gd name="connsiteY13" fmla="*/ 514886 h 2451369"/>
                  <a:gd name="connsiteX14" fmla="*/ 1608862 w 1712951"/>
                  <a:gd name="connsiteY14" fmla="*/ 520375 h 2451369"/>
                  <a:gd name="connsiteX15" fmla="*/ 1632325 w 1712951"/>
                  <a:gd name="connsiteY15" fmla="*/ 576746 h 2451369"/>
                  <a:gd name="connsiteX16" fmla="*/ 1666675 w 1712951"/>
                  <a:gd name="connsiteY16" fmla="*/ 661147 h 2451369"/>
                  <a:gd name="connsiteX17" fmla="*/ 1682991 w 1712951"/>
                  <a:gd name="connsiteY17" fmla="*/ 706852 h 2451369"/>
                  <a:gd name="connsiteX18" fmla="*/ 1694018 w 1712951"/>
                  <a:gd name="connsiteY18" fmla="*/ 749512 h 2451369"/>
                  <a:gd name="connsiteX19" fmla="*/ 1706327 w 1712951"/>
                  <a:gd name="connsiteY19" fmla="*/ 810453 h 2451369"/>
                  <a:gd name="connsiteX20" fmla="*/ 1706267 w 1712951"/>
                  <a:gd name="connsiteY20" fmla="*/ 1145634 h 2451369"/>
                  <a:gd name="connsiteX21" fmla="*/ 1694147 w 1712951"/>
                  <a:gd name="connsiteY21" fmla="*/ 1203527 h 2451369"/>
                  <a:gd name="connsiteX22" fmla="*/ 1664737 w 1712951"/>
                  <a:gd name="connsiteY22" fmla="*/ 1302955 h 2451369"/>
                  <a:gd name="connsiteX23" fmla="*/ 1657596 w 1712951"/>
                  <a:gd name="connsiteY23" fmla="*/ 1325232 h 2451369"/>
                  <a:gd name="connsiteX24" fmla="*/ 1646274 w 1712951"/>
                  <a:gd name="connsiteY24" fmla="*/ 1353783 h 2451369"/>
                  <a:gd name="connsiteX25" fmla="*/ 1579983 w 1712951"/>
                  <a:gd name="connsiteY25" fmla="*/ 1482348 h 2451369"/>
                  <a:gd name="connsiteX26" fmla="*/ 1566183 w 1712951"/>
                  <a:gd name="connsiteY26" fmla="*/ 1508000 h 2451369"/>
                  <a:gd name="connsiteX27" fmla="*/ 1561612 w 1712951"/>
                  <a:gd name="connsiteY27" fmla="*/ 1515346 h 2451369"/>
                  <a:gd name="connsiteX28" fmla="*/ 1536059 w 1712951"/>
                  <a:gd name="connsiteY28" fmla="*/ 1547849 h 2451369"/>
                  <a:gd name="connsiteX29" fmla="*/ 1501018 w 1712951"/>
                  <a:gd name="connsiteY29" fmla="*/ 1591740 h 2451369"/>
                  <a:gd name="connsiteX30" fmla="*/ 1486959 w 1712951"/>
                  <a:gd name="connsiteY30" fmla="*/ 1610083 h 2451369"/>
                  <a:gd name="connsiteX31" fmla="*/ 645859 w 1712951"/>
                  <a:gd name="connsiteY31" fmla="*/ 2451366 h 2451369"/>
                  <a:gd name="connsiteX32" fmla="*/ 326344 w 1712951"/>
                  <a:gd name="connsiteY32" fmla="*/ 2448264 h 2451369"/>
                  <a:gd name="connsiteX33" fmla="*/ 326363 w 1712951"/>
                  <a:gd name="connsiteY33" fmla="*/ 2448263 h 2451369"/>
                  <a:gd name="connsiteX34" fmla="*/ 4989 w 1712951"/>
                  <a:gd name="connsiteY34" fmla="*/ 2439067 h 2451369"/>
                  <a:gd name="connsiteX35" fmla="*/ 93 w 1712951"/>
                  <a:gd name="connsiteY35" fmla="*/ 1380732 h 2451369"/>
                  <a:gd name="connsiteX36" fmla="*/ 0 w 1712951"/>
                  <a:gd name="connsiteY36" fmla="*/ 329959 h 2451369"/>
                  <a:gd name="connsiteX37" fmla="*/ 41136 w 1712951"/>
                  <a:gd name="connsiteY37" fmla="*/ 289770 h 2451369"/>
                  <a:gd name="connsiteX38" fmla="*/ 182263 w 1712951"/>
                  <a:gd name="connsiteY38" fmla="*/ 173612 h 2451369"/>
                  <a:gd name="connsiteX39" fmla="*/ 188919 w 1712951"/>
                  <a:gd name="connsiteY39" fmla="*/ 168832 h 2451369"/>
                  <a:gd name="connsiteX40" fmla="*/ 208725 w 1712951"/>
                  <a:gd name="connsiteY40" fmla="*/ 152532 h 2451369"/>
                  <a:gd name="connsiteX41" fmla="*/ 231578 w 1712951"/>
                  <a:gd name="connsiteY41" fmla="*/ 137239 h 2451369"/>
                  <a:gd name="connsiteX42" fmla="*/ 307756 w 1712951"/>
                  <a:gd name="connsiteY42" fmla="*/ 98355 h 2451369"/>
                  <a:gd name="connsiteX43" fmla="*/ 390800 w 1712951"/>
                  <a:gd name="connsiteY43" fmla="*/ 57903 h 2451369"/>
                  <a:gd name="connsiteX44" fmla="*/ 424318 w 1712951"/>
                  <a:gd name="connsiteY44" fmla="*/ 48304 h 2451369"/>
                  <a:gd name="connsiteX45" fmla="*/ 454016 w 1712951"/>
                  <a:gd name="connsiteY45" fmla="*/ 39286 h 2451369"/>
                  <a:gd name="connsiteX46" fmla="*/ 490581 w 1712951"/>
                  <a:gd name="connsiteY46" fmla="*/ 28486 h 2451369"/>
                  <a:gd name="connsiteX47" fmla="*/ 557617 w 1712951"/>
                  <a:gd name="connsiteY47" fmla="*/ 11800 h 2451369"/>
                  <a:gd name="connsiteX48" fmla="*/ 737602 w 1712951"/>
                  <a:gd name="connsiteY48" fmla="*/ 1 h 2451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712951" h="2451369">
                    <a:moveTo>
                      <a:pt x="737602" y="1"/>
                    </a:moveTo>
                    <a:cubicBezTo>
                      <a:pt x="814093" y="-18"/>
                      <a:pt x="890515" y="3880"/>
                      <a:pt x="917173" y="11709"/>
                    </a:cubicBezTo>
                    <a:cubicBezTo>
                      <a:pt x="937284" y="17615"/>
                      <a:pt x="967450" y="25165"/>
                      <a:pt x="984209" y="28486"/>
                    </a:cubicBezTo>
                    <a:cubicBezTo>
                      <a:pt x="1000968" y="31808"/>
                      <a:pt x="1017422" y="36640"/>
                      <a:pt x="1020774" y="39222"/>
                    </a:cubicBezTo>
                    <a:cubicBezTo>
                      <a:pt x="1024126" y="41806"/>
                      <a:pt x="1036395" y="45731"/>
                      <a:pt x="1048040" y="47945"/>
                    </a:cubicBezTo>
                    <a:cubicBezTo>
                      <a:pt x="1090012" y="55925"/>
                      <a:pt x="1210053" y="115725"/>
                      <a:pt x="1284311" y="165647"/>
                    </a:cubicBezTo>
                    <a:cubicBezTo>
                      <a:pt x="1341397" y="204024"/>
                      <a:pt x="1437467" y="287541"/>
                      <a:pt x="1465649" y="323290"/>
                    </a:cubicBezTo>
                    <a:cubicBezTo>
                      <a:pt x="1475705" y="336046"/>
                      <a:pt x="1494158" y="357635"/>
                      <a:pt x="1506657" y="371266"/>
                    </a:cubicBezTo>
                    <a:cubicBezTo>
                      <a:pt x="1519155" y="384897"/>
                      <a:pt x="1530996" y="400848"/>
                      <a:pt x="1532968" y="406715"/>
                    </a:cubicBezTo>
                    <a:cubicBezTo>
                      <a:pt x="1534940" y="412580"/>
                      <a:pt x="1539111" y="417379"/>
                      <a:pt x="1542237" y="417379"/>
                    </a:cubicBezTo>
                    <a:cubicBezTo>
                      <a:pt x="1545363" y="417379"/>
                      <a:pt x="1547921" y="419809"/>
                      <a:pt x="1547921" y="422779"/>
                    </a:cubicBezTo>
                    <a:cubicBezTo>
                      <a:pt x="1547921" y="425748"/>
                      <a:pt x="1558890" y="444606"/>
                      <a:pt x="1572297" y="464683"/>
                    </a:cubicBezTo>
                    <a:cubicBezTo>
                      <a:pt x="1585704" y="484760"/>
                      <a:pt x="1596674" y="504269"/>
                      <a:pt x="1596674" y="508036"/>
                    </a:cubicBezTo>
                    <a:cubicBezTo>
                      <a:pt x="1596674" y="511804"/>
                      <a:pt x="1599416" y="514886"/>
                      <a:pt x="1602768" y="514886"/>
                    </a:cubicBezTo>
                    <a:cubicBezTo>
                      <a:pt x="1606119" y="514886"/>
                      <a:pt x="1608862" y="517356"/>
                      <a:pt x="1608862" y="520375"/>
                    </a:cubicBezTo>
                    <a:cubicBezTo>
                      <a:pt x="1608862" y="523394"/>
                      <a:pt x="1619420" y="548761"/>
                      <a:pt x="1632325" y="576746"/>
                    </a:cubicBezTo>
                    <a:cubicBezTo>
                      <a:pt x="1645229" y="604732"/>
                      <a:pt x="1660687" y="642711"/>
                      <a:pt x="1666675" y="661147"/>
                    </a:cubicBezTo>
                    <a:cubicBezTo>
                      <a:pt x="1672664" y="679581"/>
                      <a:pt x="1680006" y="700148"/>
                      <a:pt x="1682991" y="706852"/>
                    </a:cubicBezTo>
                    <a:cubicBezTo>
                      <a:pt x="1685975" y="713556"/>
                      <a:pt x="1690937" y="732753"/>
                      <a:pt x="1694018" y="749512"/>
                    </a:cubicBezTo>
                    <a:cubicBezTo>
                      <a:pt x="1697098" y="766271"/>
                      <a:pt x="1702637" y="793694"/>
                      <a:pt x="1706327" y="810453"/>
                    </a:cubicBezTo>
                    <a:cubicBezTo>
                      <a:pt x="1715186" y="850684"/>
                      <a:pt x="1715154" y="1105970"/>
                      <a:pt x="1706267" y="1145634"/>
                    </a:cubicBezTo>
                    <a:cubicBezTo>
                      <a:pt x="1702519" y="1162392"/>
                      <a:pt x="1697066" y="1188445"/>
                      <a:pt x="1694147" y="1203527"/>
                    </a:cubicBezTo>
                    <a:cubicBezTo>
                      <a:pt x="1688226" y="1234134"/>
                      <a:pt x="1675559" y="1276958"/>
                      <a:pt x="1664737" y="1302955"/>
                    </a:cubicBezTo>
                    <a:cubicBezTo>
                      <a:pt x="1660809" y="1312391"/>
                      <a:pt x="1657596" y="1322415"/>
                      <a:pt x="1657596" y="1325232"/>
                    </a:cubicBezTo>
                    <a:cubicBezTo>
                      <a:pt x="1657596" y="1328049"/>
                      <a:pt x="1652500" y="1340897"/>
                      <a:pt x="1646274" y="1353783"/>
                    </a:cubicBezTo>
                    <a:cubicBezTo>
                      <a:pt x="1602301" y="1444774"/>
                      <a:pt x="1592238" y="1464289"/>
                      <a:pt x="1579983" y="1482348"/>
                    </a:cubicBezTo>
                    <a:cubicBezTo>
                      <a:pt x="1572393" y="1493533"/>
                      <a:pt x="1566183" y="1505076"/>
                      <a:pt x="1566183" y="1508000"/>
                    </a:cubicBezTo>
                    <a:cubicBezTo>
                      <a:pt x="1566183" y="1510923"/>
                      <a:pt x="1564127" y="1514229"/>
                      <a:pt x="1561612" y="1515346"/>
                    </a:cubicBezTo>
                    <a:cubicBezTo>
                      <a:pt x="1559099" y="1516464"/>
                      <a:pt x="1547600" y="1531090"/>
                      <a:pt x="1536059" y="1547849"/>
                    </a:cubicBezTo>
                    <a:cubicBezTo>
                      <a:pt x="1524518" y="1564607"/>
                      <a:pt x="1508750" y="1584359"/>
                      <a:pt x="1501018" y="1591740"/>
                    </a:cubicBezTo>
                    <a:cubicBezTo>
                      <a:pt x="1493285" y="1599122"/>
                      <a:pt x="1486959" y="1607376"/>
                      <a:pt x="1486959" y="1610083"/>
                    </a:cubicBezTo>
                    <a:cubicBezTo>
                      <a:pt x="1486959" y="1616185"/>
                      <a:pt x="649930" y="2453396"/>
                      <a:pt x="645859" y="2451366"/>
                    </a:cubicBezTo>
                    <a:cubicBezTo>
                      <a:pt x="644240" y="2450559"/>
                      <a:pt x="500459" y="2449163"/>
                      <a:pt x="326344" y="2448264"/>
                    </a:cubicBezTo>
                    <a:lnTo>
                      <a:pt x="326363" y="2448263"/>
                    </a:lnTo>
                    <a:cubicBezTo>
                      <a:pt x="82450" y="2447004"/>
                      <a:pt x="8690" y="2444893"/>
                      <a:pt x="4989" y="2439067"/>
                    </a:cubicBezTo>
                    <a:cubicBezTo>
                      <a:pt x="2347" y="2434907"/>
                      <a:pt x="144" y="1958657"/>
                      <a:pt x="93" y="1380732"/>
                    </a:cubicBezTo>
                    <a:lnTo>
                      <a:pt x="0" y="329959"/>
                    </a:lnTo>
                    <a:lnTo>
                      <a:pt x="41136" y="289770"/>
                    </a:lnTo>
                    <a:cubicBezTo>
                      <a:pt x="101401" y="230892"/>
                      <a:pt x="170994" y="173612"/>
                      <a:pt x="182263" y="173612"/>
                    </a:cubicBezTo>
                    <a:cubicBezTo>
                      <a:pt x="185924" y="173612"/>
                      <a:pt x="188919" y="171461"/>
                      <a:pt x="188919" y="168832"/>
                    </a:cubicBezTo>
                    <a:cubicBezTo>
                      <a:pt x="188919" y="166203"/>
                      <a:pt x="197831" y="158867"/>
                      <a:pt x="208725" y="152532"/>
                    </a:cubicBezTo>
                    <a:cubicBezTo>
                      <a:pt x="219619" y="146196"/>
                      <a:pt x="229903" y="139314"/>
                      <a:pt x="231578" y="137239"/>
                    </a:cubicBezTo>
                    <a:cubicBezTo>
                      <a:pt x="233254" y="135164"/>
                      <a:pt x="267534" y="117666"/>
                      <a:pt x="307756" y="98355"/>
                    </a:cubicBezTo>
                    <a:cubicBezTo>
                      <a:pt x="347977" y="79043"/>
                      <a:pt x="385348" y="60840"/>
                      <a:pt x="390800" y="57903"/>
                    </a:cubicBezTo>
                    <a:cubicBezTo>
                      <a:pt x="396253" y="54966"/>
                      <a:pt x="411336" y="50646"/>
                      <a:pt x="424318" y="48304"/>
                    </a:cubicBezTo>
                    <a:cubicBezTo>
                      <a:pt x="437300" y="45962"/>
                      <a:pt x="450664" y="41903"/>
                      <a:pt x="454016" y="39286"/>
                    </a:cubicBezTo>
                    <a:cubicBezTo>
                      <a:pt x="457367" y="36667"/>
                      <a:pt x="473822" y="31808"/>
                      <a:pt x="490581" y="28486"/>
                    </a:cubicBezTo>
                    <a:cubicBezTo>
                      <a:pt x="507340" y="25165"/>
                      <a:pt x="537506" y="17656"/>
                      <a:pt x="557617" y="11800"/>
                    </a:cubicBezTo>
                    <a:cubicBezTo>
                      <a:pt x="584551" y="3958"/>
                      <a:pt x="661111" y="20"/>
                      <a:pt x="737602" y="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4E5758D2-B7E6-405D-8DBF-2914261D93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75340" y="761102"/>
                <a:ext cx="1950105" cy="1952131"/>
              </a:xfrm>
              <a:custGeom>
                <a:avLst/>
                <a:gdLst>
                  <a:gd name="connsiteX0" fmla="*/ 1939610 w 1950105"/>
                  <a:gd name="connsiteY0" fmla="*/ 0 h 1952131"/>
                  <a:gd name="connsiteX1" fmla="*/ 1950105 w 1950105"/>
                  <a:gd name="connsiteY1" fmla="*/ 972212 h 1952131"/>
                  <a:gd name="connsiteX2" fmla="*/ 1942487 w 1950105"/>
                  <a:gd name="connsiteY2" fmla="*/ 1947271 h 1952131"/>
                  <a:gd name="connsiteX3" fmla="*/ 2507 w 1950105"/>
                  <a:gd name="connsiteY3" fmla="*/ 1950644 h 1952131"/>
                  <a:gd name="connsiteX4" fmla="*/ 1 w 1950105"/>
                  <a:gd name="connsiteY4" fmla="*/ 1938455 h 1952131"/>
                  <a:gd name="connsiteX5" fmla="*/ 1939610 w 1950105"/>
                  <a:gd name="connsiteY5" fmla="*/ 0 h 1952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0105" h="1952131">
                    <a:moveTo>
                      <a:pt x="1939610" y="0"/>
                    </a:moveTo>
                    <a:cubicBezTo>
                      <a:pt x="1949496" y="0"/>
                      <a:pt x="1950105" y="56363"/>
                      <a:pt x="1950105" y="972212"/>
                    </a:cubicBezTo>
                    <a:cubicBezTo>
                      <a:pt x="1950105" y="1744401"/>
                      <a:pt x="1948538" y="1945010"/>
                      <a:pt x="1942487" y="1947271"/>
                    </a:cubicBezTo>
                    <a:cubicBezTo>
                      <a:pt x="1933037" y="1950804"/>
                      <a:pt x="6016" y="1954154"/>
                      <a:pt x="2507" y="1950644"/>
                    </a:cubicBezTo>
                    <a:cubicBezTo>
                      <a:pt x="1110" y="1949248"/>
                      <a:pt x="-18" y="1943763"/>
                      <a:pt x="1" y="1938455"/>
                    </a:cubicBezTo>
                    <a:cubicBezTo>
                      <a:pt x="62" y="1925249"/>
                      <a:pt x="1926440" y="0"/>
                      <a:pt x="1939610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A75370E3-7989-40C1-8F3B-DBA0161DA9B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7837089" y="1678276"/>
                <a:ext cx="2184431" cy="2152034"/>
              </a:xfrm>
              <a:custGeom>
                <a:avLst/>
                <a:gdLst>
                  <a:gd name="connsiteX0" fmla="*/ 2184431 w 2184431"/>
                  <a:gd name="connsiteY0" fmla="*/ 0 h 2152034"/>
                  <a:gd name="connsiteX1" fmla="*/ 2184431 w 2184431"/>
                  <a:gd name="connsiteY1" fmla="*/ 1075622 h 2152034"/>
                  <a:gd name="connsiteX2" fmla="*/ 2184431 w 2184431"/>
                  <a:gd name="connsiteY2" fmla="*/ 2151244 h 2152034"/>
                  <a:gd name="connsiteX3" fmla="*/ 1584154 w 2184431"/>
                  <a:gd name="connsiteY3" fmla="*/ 2151983 h 2152034"/>
                  <a:gd name="connsiteX4" fmla="*/ 950361 w 2184431"/>
                  <a:gd name="connsiteY4" fmla="*/ 2147153 h 2152034"/>
                  <a:gd name="connsiteX5" fmla="*/ 950362 w 2184431"/>
                  <a:gd name="connsiteY5" fmla="*/ 2147153 h 2152034"/>
                  <a:gd name="connsiteX6" fmla="*/ 801055 w 2184431"/>
                  <a:gd name="connsiteY6" fmla="*/ 2117829 h 2152034"/>
                  <a:gd name="connsiteX7" fmla="*/ 768794 w 2184431"/>
                  <a:gd name="connsiteY7" fmla="*/ 2109303 h 2152034"/>
                  <a:gd name="connsiteX8" fmla="*/ 732229 w 2184431"/>
                  <a:gd name="connsiteY8" fmla="*/ 2099949 h 2152034"/>
                  <a:gd name="connsiteX9" fmla="*/ 676123 w 2184431"/>
                  <a:gd name="connsiteY9" fmla="*/ 2077771 h 2152034"/>
                  <a:gd name="connsiteX10" fmla="*/ 476956 w 2184431"/>
                  <a:gd name="connsiteY10" fmla="*/ 1972835 h 2152034"/>
                  <a:gd name="connsiteX11" fmla="*/ 411998 w 2184431"/>
                  <a:gd name="connsiteY11" fmla="*/ 1930683 h 2152034"/>
                  <a:gd name="connsiteX12" fmla="*/ 208178 w 2184431"/>
                  <a:gd name="connsiteY12" fmla="*/ 1724647 h 2152034"/>
                  <a:gd name="connsiteX13" fmla="*/ 187067 w 2184431"/>
                  <a:gd name="connsiteY13" fmla="*/ 1696106 h 2152034"/>
                  <a:gd name="connsiteX14" fmla="*/ 170308 w 2184431"/>
                  <a:gd name="connsiteY14" fmla="*/ 1670824 h 2152034"/>
                  <a:gd name="connsiteX15" fmla="*/ 150443 w 2184431"/>
                  <a:gd name="connsiteY15" fmla="*/ 1638423 h 2152034"/>
                  <a:gd name="connsiteX16" fmla="*/ 64464 w 2184431"/>
                  <a:gd name="connsiteY16" fmla="*/ 1470822 h 2152034"/>
                  <a:gd name="connsiteX17" fmla="*/ 54518 w 2184431"/>
                  <a:gd name="connsiteY17" fmla="*/ 1432735 h 2152034"/>
                  <a:gd name="connsiteX18" fmla="*/ 48700 w 2184431"/>
                  <a:gd name="connsiteY18" fmla="*/ 1416896 h 2152034"/>
                  <a:gd name="connsiteX19" fmla="*/ 38926 w 2184431"/>
                  <a:gd name="connsiteY19" fmla="*/ 1394044 h 2152034"/>
                  <a:gd name="connsiteX20" fmla="*/ 25602 w 2184431"/>
                  <a:gd name="connsiteY20" fmla="*/ 1343766 h 2152034"/>
                  <a:gd name="connsiteX21" fmla="*/ 26121 w 2184431"/>
                  <a:gd name="connsiteY21" fmla="*/ 807478 h 2152034"/>
                  <a:gd name="connsiteX22" fmla="*/ 36183 w 2184431"/>
                  <a:gd name="connsiteY22" fmla="*/ 767867 h 2152034"/>
                  <a:gd name="connsiteX23" fmla="*/ 45413 w 2184431"/>
                  <a:gd name="connsiteY23" fmla="*/ 738222 h 2152034"/>
                  <a:gd name="connsiteX24" fmla="*/ 54517 w 2184431"/>
                  <a:gd name="connsiteY24" fmla="*/ 711720 h 2152034"/>
                  <a:gd name="connsiteX25" fmla="*/ 142783 w 2184431"/>
                  <a:gd name="connsiteY25" fmla="*/ 524522 h 2152034"/>
                  <a:gd name="connsiteX26" fmla="*/ 160705 w 2184431"/>
                  <a:gd name="connsiteY26" fmla="*/ 496564 h 2152034"/>
                  <a:gd name="connsiteX27" fmla="*/ 175998 w 2184431"/>
                  <a:gd name="connsiteY27" fmla="*/ 472299 h 2152034"/>
                  <a:gd name="connsiteX28" fmla="*/ 196073 w 2184431"/>
                  <a:gd name="connsiteY28" fmla="*/ 443768 h 2152034"/>
                  <a:gd name="connsiteX29" fmla="*/ 283274 w 2184431"/>
                  <a:gd name="connsiteY29" fmla="*/ 337688 h 2152034"/>
                  <a:gd name="connsiteX30" fmla="*/ 435671 w 2184431"/>
                  <a:gd name="connsiteY30" fmla="*/ 204469 h 2152034"/>
                  <a:gd name="connsiteX31" fmla="*/ 468921 w 2184431"/>
                  <a:gd name="connsiteY31" fmla="*/ 179786 h 2152034"/>
                  <a:gd name="connsiteX32" fmla="*/ 541634 w 2184431"/>
                  <a:gd name="connsiteY32" fmla="*/ 137120 h 2152034"/>
                  <a:gd name="connsiteX33" fmla="*/ 549160 w 2184431"/>
                  <a:gd name="connsiteY33" fmla="*/ 132549 h 2152034"/>
                  <a:gd name="connsiteX34" fmla="*/ 683654 w 2184431"/>
                  <a:gd name="connsiteY34" fmla="*/ 70083 h 2152034"/>
                  <a:gd name="connsiteX35" fmla="*/ 697757 w 2184431"/>
                  <a:gd name="connsiteY35" fmla="*/ 64559 h 2152034"/>
                  <a:gd name="connsiteX36" fmla="*/ 831524 w 2184431"/>
                  <a:gd name="connsiteY36" fmla="*/ 23453 h 2152034"/>
                  <a:gd name="connsiteX37" fmla="*/ 1581108 w 2184431"/>
                  <a:gd name="connsiteY37" fmla="*/ 111 h 2152034"/>
                  <a:gd name="connsiteX38" fmla="*/ 2184431 w 2184431"/>
                  <a:gd name="connsiteY38" fmla="*/ 0 h 2152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184431" h="2152034">
                    <a:moveTo>
                      <a:pt x="2184431" y="0"/>
                    </a:moveTo>
                    <a:lnTo>
                      <a:pt x="2184431" y="1075622"/>
                    </a:lnTo>
                    <a:lnTo>
                      <a:pt x="2184431" y="2151244"/>
                    </a:lnTo>
                    <a:lnTo>
                      <a:pt x="1584154" y="2151983"/>
                    </a:lnTo>
                    <a:cubicBezTo>
                      <a:pt x="1246349" y="2152397"/>
                      <a:pt x="969223" y="2150285"/>
                      <a:pt x="950361" y="2147153"/>
                    </a:cubicBezTo>
                    <a:lnTo>
                      <a:pt x="950362" y="2147153"/>
                    </a:lnTo>
                    <a:cubicBezTo>
                      <a:pt x="851495" y="2130729"/>
                      <a:pt x="806521" y="2121896"/>
                      <a:pt x="801055" y="2117829"/>
                    </a:cubicBezTo>
                    <a:cubicBezTo>
                      <a:pt x="797702" y="2115336"/>
                      <a:pt x="783185" y="2111499"/>
                      <a:pt x="768794" y="2109303"/>
                    </a:cubicBezTo>
                    <a:cubicBezTo>
                      <a:pt x="754402" y="2107105"/>
                      <a:pt x="737948" y="2102897"/>
                      <a:pt x="732229" y="2099949"/>
                    </a:cubicBezTo>
                    <a:cubicBezTo>
                      <a:pt x="726509" y="2097001"/>
                      <a:pt x="701263" y="2087021"/>
                      <a:pt x="676123" y="2077771"/>
                    </a:cubicBezTo>
                    <a:cubicBezTo>
                      <a:pt x="616551" y="2055853"/>
                      <a:pt x="541531" y="2016326"/>
                      <a:pt x="476956" y="1972835"/>
                    </a:cubicBezTo>
                    <a:cubicBezTo>
                      <a:pt x="448467" y="1953647"/>
                      <a:pt x="419236" y="1934679"/>
                      <a:pt x="411998" y="1930683"/>
                    </a:cubicBezTo>
                    <a:cubicBezTo>
                      <a:pt x="384677" y="1915601"/>
                      <a:pt x="240285" y="1769639"/>
                      <a:pt x="208178" y="1724647"/>
                    </a:cubicBezTo>
                    <a:cubicBezTo>
                      <a:pt x="205784" y="1721292"/>
                      <a:pt x="196284" y="1708449"/>
                      <a:pt x="187067" y="1696106"/>
                    </a:cubicBezTo>
                    <a:cubicBezTo>
                      <a:pt x="177848" y="1683763"/>
                      <a:pt x="170308" y="1672386"/>
                      <a:pt x="170308" y="1670824"/>
                    </a:cubicBezTo>
                    <a:cubicBezTo>
                      <a:pt x="170308" y="1669260"/>
                      <a:pt x="161368" y="1654680"/>
                      <a:pt x="150443" y="1638423"/>
                    </a:cubicBezTo>
                    <a:cubicBezTo>
                      <a:pt x="132813" y="1612189"/>
                      <a:pt x="92699" y="1533993"/>
                      <a:pt x="64464" y="1470822"/>
                    </a:cubicBezTo>
                    <a:cubicBezTo>
                      <a:pt x="58993" y="1458585"/>
                      <a:pt x="54518" y="1441445"/>
                      <a:pt x="54518" y="1432735"/>
                    </a:cubicBezTo>
                    <a:cubicBezTo>
                      <a:pt x="54518" y="1424024"/>
                      <a:pt x="51900" y="1416896"/>
                      <a:pt x="48700" y="1416896"/>
                    </a:cubicBezTo>
                    <a:cubicBezTo>
                      <a:pt x="45500" y="1416896"/>
                      <a:pt x="41101" y="1406613"/>
                      <a:pt x="38926" y="1394044"/>
                    </a:cubicBezTo>
                    <a:cubicBezTo>
                      <a:pt x="36750" y="1381474"/>
                      <a:pt x="30754" y="1358849"/>
                      <a:pt x="25602" y="1343766"/>
                    </a:cubicBezTo>
                    <a:cubicBezTo>
                      <a:pt x="-8785" y="1243105"/>
                      <a:pt x="-8454" y="902906"/>
                      <a:pt x="26121" y="807478"/>
                    </a:cubicBezTo>
                    <a:cubicBezTo>
                      <a:pt x="31585" y="792396"/>
                      <a:pt x="36113" y="774570"/>
                      <a:pt x="36183" y="767867"/>
                    </a:cubicBezTo>
                    <a:cubicBezTo>
                      <a:pt x="36249" y="761163"/>
                      <a:pt x="40406" y="747824"/>
                      <a:pt x="45413" y="738222"/>
                    </a:cubicBezTo>
                    <a:cubicBezTo>
                      <a:pt x="50419" y="728622"/>
                      <a:pt x="54517" y="716696"/>
                      <a:pt x="54517" y="711720"/>
                    </a:cubicBezTo>
                    <a:cubicBezTo>
                      <a:pt x="54517" y="696968"/>
                      <a:pt x="128496" y="540071"/>
                      <a:pt x="142783" y="524522"/>
                    </a:cubicBezTo>
                    <a:cubicBezTo>
                      <a:pt x="146189" y="520815"/>
                      <a:pt x="154254" y="508234"/>
                      <a:pt x="160705" y="496564"/>
                    </a:cubicBezTo>
                    <a:cubicBezTo>
                      <a:pt x="167157" y="484894"/>
                      <a:pt x="174038" y="473976"/>
                      <a:pt x="175998" y="472299"/>
                    </a:cubicBezTo>
                    <a:cubicBezTo>
                      <a:pt x="177958" y="470623"/>
                      <a:pt x="186992" y="457784"/>
                      <a:pt x="196073" y="443768"/>
                    </a:cubicBezTo>
                    <a:cubicBezTo>
                      <a:pt x="211105" y="420571"/>
                      <a:pt x="230605" y="396850"/>
                      <a:pt x="283274" y="337688"/>
                    </a:cubicBezTo>
                    <a:cubicBezTo>
                      <a:pt x="320359" y="296033"/>
                      <a:pt x="383861" y="240522"/>
                      <a:pt x="435671" y="204469"/>
                    </a:cubicBezTo>
                    <a:cubicBezTo>
                      <a:pt x="452282" y="192910"/>
                      <a:pt x="467244" y="181803"/>
                      <a:pt x="468921" y="179786"/>
                    </a:cubicBezTo>
                    <a:cubicBezTo>
                      <a:pt x="474325" y="173284"/>
                      <a:pt x="535956" y="137120"/>
                      <a:pt x="541634" y="137120"/>
                    </a:cubicBezTo>
                    <a:cubicBezTo>
                      <a:pt x="544656" y="137120"/>
                      <a:pt x="548042" y="135063"/>
                      <a:pt x="549160" y="132549"/>
                    </a:cubicBezTo>
                    <a:cubicBezTo>
                      <a:pt x="552633" y="124734"/>
                      <a:pt x="670303" y="70083"/>
                      <a:pt x="683654" y="70083"/>
                    </a:cubicBezTo>
                    <a:cubicBezTo>
                      <a:pt x="688226" y="70083"/>
                      <a:pt x="694573" y="67598"/>
                      <a:pt x="697757" y="64559"/>
                    </a:cubicBezTo>
                    <a:cubicBezTo>
                      <a:pt x="705815" y="56871"/>
                      <a:pt x="780380" y="33958"/>
                      <a:pt x="831524" y="23453"/>
                    </a:cubicBezTo>
                    <a:cubicBezTo>
                      <a:pt x="940225" y="1129"/>
                      <a:pt x="969242" y="224"/>
                      <a:pt x="1581108" y="111"/>
                    </a:cubicBezTo>
                    <a:lnTo>
                      <a:pt x="2184431" y="0"/>
                    </a:ln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E287E65B-1673-417F-8C88-6616FF5925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869688"/>
                <a:ext cx="1674822" cy="2401637"/>
              </a:xfrm>
              <a:custGeom>
                <a:avLst/>
                <a:gdLst>
                  <a:gd name="connsiteX0" fmla="*/ 334458 w 1674822"/>
                  <a:gd name="connsiteY0" fmla="*/ 0 h 2401637"/>
                  <a:gd name="connsiteX1" fmla="*/ 661517 w 1674822"/>
                  <a:gd name="connsiteY1" fmla="*/ 0 h 2401637"/>
                  <a:gd name="connsiteX2" fmla="*/ 1060842 w 1674822"/>
                  <a:gd name="connsiteY2" fmla="*/ 400693 h 2401637"/>
                  <a:gd name="connsiteX3" fmla="*/ 1497894 w 1674822"/>
                  <a:gd name="connsiteY3" fmla="*/ 856232 h 2401637"/>
                  <a:gd name="connsiteX4" fmla="*/ 1540442 w 1674822"/>
                  <a:gd name="connsiteY4" fmla="*/ 917174 h 2401637"/>
                  <a:gd name="connsiteX5" fmla="*/ 1608900 w 1674822"/>
                  <a:gd name="connsiteY5" fmla="*/ 1056276 h 2401637"/>
                  <a:gd name="connsiteX6" fmla="*/ 1616809 w 1674822"/>
                  <a:gd name="connsiteY6" fmla="*/ 1078669 h 2401637"/>
                  <a:gd name="connsiteX7" fmla="*/ 1667002 w 1674822"/>
                  <a:gd name="connsiteY7" fmla="*/ 1267588 h 2401637"/>
                  <a:gd name="connsiteX8" fmla="*/ 1661895 w 1674822"/>
                  <a:gd name="connsiteY8" fmla="*/ 1599721 h 2401637"/>
                  <a:gd name="connsiteX9" fmla="*/ 1621485 w 1674822"/>
                  <a:gd name="connsiteY9" fmla="*/ 1745847 h 2401637"/>
                  <a:gd name="connsiteX10" fmla="*/ 1612593 w 1674822"/>
                  <a:gd name="connsiteY10" fmla="*/ 1768994 h 2401637"/>
                  <a:gd name="connsiteX11" fmla="*/ 1519716 w 1674822"/>
                  <a:gd name="connsiteY11" fmla="*/ 1950616 h 2401637"/>
                  <a:gd name="connsiteX12" fmla="*/ 1511356 w 1674822"/>
                  <a:gd name="connsiteY12" fmla="*/ 1966029 h 2401637"/>
                  <a:gd name="connsiteX13" fmla="*/ 1499167 w 1674822"/>
                  <a:gd name="connsiteY13" fmla="*/ 1980607 h 2401637"/>
                  <a:gd name="connsiteX14" fmla="*/ 1486979 w 1674822"/>
                  <a:gd name="connsiteY14" fmla="*/ 1996172 h 2401637"/>
                  <a:gd name="connsiteX15" fmla="*/ 1468866 w 1674822"/>
                  <a:gd name="connsiteY15" fmla="*/ 2020727 h 2401637"/>
                  <a:gd name="connsiteX16" fmla="*/ 1450584 w 1674822"/>
                  <a:gd name="connsiteY16" fmla="*/ 2043594 h 2401637"/>
                  <a:gd name="connsiteX17" fmla="*/ 1261346 w 1674822"/>
                  <a:gd name="connsiteY17" fmla="*/ 2218281 h 2401637"/>
                  <a:gd name="connsiteX18" fmla="*/ 1231652 w 1674822"/>
                  <a:gd name="connsiteY18" fmla="*/ 2239609 h 2401637"/>
                  <a:gd name="connsiteX19" fmla="*/ 1203551 w 1674822"/>
                  <a:gd name="connsiteY19" fmla="*/ 2259149 h 2401637"/>
                  <a:gd name="connsiteX20" fmla="*/ 1048199 w 1674822"/>
                  <a:gd name="connsiteY20" fmla="*/ 2335604 h 2401637"/>
                  <a:gd name="connsiteX21" fmla="*/ 1022164 w 1674822"/>
                  <a:gd name="connsiteY21" fmla="*/ 2347104 h 2401637"/>
                  <a:gd name="connsiteX22" fmla="*/ 984076 w 1674822"/>
                  <a:gd name="connsiteY22" fmla="*/ 2356362 h 2401637"/>
                  <a:gd name="connsiteX23" fmla="*/ 956786 w 1674822"/>
                  <a:gd name="connsiteY23" fmla="*/ 2364468 h 2401637"/>
                  <a:gd name="connsiteX24" fmla="*/ 918697 w 1674822"/>
                  <a:gd name="connsiteY24" fmla="*/ 2375702 h 2401637"/>
                  <a:gd name="connsiteX25" fmla="*/ 831855 w 1674822"/>
                  <a:gd name="connsiteY25" fmla="*/ 2391717 h 2401637"/>
                  <a:gd name="connsiteX26" fmla="*/ 584314 w 1674822"/>
                  <a:gd name="connsiteY26" fmla="*/ 2398347 h 2401637"/>
                  <a:gd name="connsiteX27" fmla="*/ 548257 w 1674822"/>
                  <a:gd name="connsiteY27" fmla="*/ 2389771 h 2401637"/>
                  <a:gd name="connsiteX28" fmla="*/ 429639 w 1674822"/>
                  <a:gd name="connsiteY28" fmla="*/ 2364568 h 2401637"/>
                  <a:gd name="connsiteX29" fmla="*/ 399169 w 1674822"/>
                  <a:gd name="connsiteY29" fmla="*/ 2355648 h 2401637"/>
                  <a:gd name="connsiteX30" fmla="*/ 368697 w 1674822"/>
                  <a:gd name="connsiteY30" fmla="*/ 2346569 h 2401637"/>
                  <a:gd name="connsiteX31" fmla="*/ 332132 w 1674822"/>
                  <a:gd name="connsiteY31" fmla="*/ 2330684 h 2401637"/>
                  <a:gd name="connsiteX32" fmla="*/ 115851 w 1674822"/>
                  <a:gd name="connsiteY32" fmla="*/ 2207777 h 2401637"/>
                  <a:gd name="connsiteX33" fmla="*/ 96231 w 1674822"/>
                  <a:gd name="connsiteY33" fmla="*/ 2193904 h 2401637"/>
                  <a:gd name="connsiteX34" fmla="*/ 11074 w 1674822"/>
                  <a:gd name="connsiteY34" fmla="*/ 2119250 h 2401637"/>
                  <a:gd name="connsiteX35" fmla="*/ 0 w 1674822"/>
                  <a:gd name="connsiteY35" fmla="*/ 1063932 h 2401637"/>
                  <a:gd name="connsiteX36" fmla="*/ 3699 w 1674822"/>
                  <a:gd name="connsiteY36" fmla="*/ 9640 h 2401637"/>
                  <a:gd name="connsiteX37" fmla="*/ 334458 w 1674822"/>
                  <a:gd name="connsiteY37" fmla="*/ 0 h 240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674822" h="2401637">
                    <a:moveTo>
                      <a:pt x="334458" y="0"/>
                    </a:moveTo>
                    <a:lnTo>
                      <a:pt x="661517" y="0"/>
                    </a:lnTo>
                    <a:lnTo>
                      <a:pt x="1060842" y="400693"/>
                    </a:lnTo>
                    <a:cubicBezTo>
                      <a:pt x="1379844" y="720785"/>
                      <a:pt x="1467756" y="812417"/>
                      <a:pt x="1497894" y="856232"/>
                    </a:cubicBezTo>
                    <a:cubicBezTo>
                      <a:pt x="1518645" y="886398"/>
                      <a:pt x="1537791" y="913822"/>
                      <a:pt x="1540442" y="917174"/>
                    </a:cubicBezTo>
                    <a:cubicBezTo>
                      <a:pt x="1549627" y="928788"/>
                      <a:pt x="1608862" y="1049150"/>
                      <a:pt x="1608900" y="1056276"/>
                    </a:cubicBezTo>
                    <a:cubicBezTo>
                      <a:pt x="1608900" y="1060212"/>
                      <a:pt x="1612479" y="1070290"/>
                      <a:pt x="1616809" y="1078669"/>
                    </a:cubicBezTo>
                    <a:cubicBezTo>
                      <a:pt x="1629117" y="1102494"/>
                      <a:pt x="1656040" y="1203824"/>
                      <a:pt x="1667002" y="1267588"/>
                    </a:cubicBezTo>
                    <a:cubicBezTo>
                      <a:pt x="1679415" y="1339780"/>
                      <a:pt x="1676564" y="1525140"/>
                      <a:pt x="1661895" y="1599721"/>
                    </a:cubicBezTo>
                    <a:cubicBezTo>
                      <a:pt x="1650756" y="1656366"/>
                      <a:pt x="1628504" y="1736827"/>
                      <a:pt x="1621485" y="1745847"/>
                    </a:cubicBezTo>
                    <a:cubicBezTo>
                      <a:pt x="1618818" y="1749272"/>
                      <a:pt x="1614818" y="1759689"/>
                      <a:pt x="1612593" y="1768994"/>
                    </a:cubicBezTo>
                    <a:cubicBezTo>
                      <a:pt x="1605780" y="1797501"/>
                      <a:pt x="1538586" y="1928900"/>
                      <a:pt x="1519716" y="1950616"/>
                    </a:cubicBezTo>
                    <a:cubicBezTo>
                      <a:pt x="1515118" y="1955908"/>
                      <a:pt x="1511356" y="1962844"/>
                      <a:pt x="1511356" y="1966029"/>
                    </a:cubicBezTo>
                    <a:cubicBezTo>
                      <a:pt x="1511356" y="1969216"/>
                      <a:pt x="1505871" y="1975776"/>
                      <a:pt x="1499167" y="1980607"/>
                    </a:cubicBezTo>
                    <a:cubicBezTo>
                      <a:pt x="1492464" y="1985439"/>
                      <a:pt x="1486979" y="1992443"/>
                      <a:pt x="1486979" y="1996172"/>
                    </a:cubicBezTo>
                    <a:cubicBezTo>
                      <a:pt x="1486979" y="1999902"/>
                      <a:pt x="1478828" y="2010951"/>
                      <a:pt x="1468866" y="2020727"/>
                    </a:cubicBezTo>
                    <a:cubicBezTo>
                      <a:pt x="1458903" y="2030503"/>
                      <a:pt x="1450676" y="2040793"/>
                      <a:pt x="1450584" y="2043594"/>
                    </a:cubicBezTo>
                    <a:cubicBezTo>
                      <a:pt x="1450149" y="2056666"/>
                      <a:pt x="1310538" y="2185541"/>
                      <a:pt x="1261346" y="2218281"/>
                    </a:cubicBezTo>
                    <a:cubicBezTo>
                      <a:pt x="1253791" y="2223308"/>
                      <a:pt x="1240429" y="2232906"/>
                      <a:pt x="1231652" y="2239609"/>
                    </a:cubicBezTo>
                    <a:cubicBezTo>
                      <a:pt x="1222873" y="2246313"/>
                      <a:pt x="1210228" y="2255106"/>
                      <a:pt x="1203551" y="2259149"/>
                    </a:cubicBezTo>
                    <a:cubicBezTo>
                      <a:pt x="1186982" y="2269182"/>
                      <a:pt x="1067068" y="2328195"/>
                      <a:pt x="1048199" y="2335604"/>
                    </a:cubicBezTo>
                    <a:cubicBezTo>
                      <a:pt x="1039818" y="2338894"/>
                      <a:pt x="1028104" y="2344069"/>
                      <a:pt x="1022164" y="2347104"/>
                    </a:cubicBezTo>
                    <a:cubicBezTo>
                      <a:pt x="1016225" y="2350138"/>
                      <a:pt x="999086" y="2354304"/>
                      <a:pt x="984076" y="2356362"/>
                    </a:cubicBezTo>
                    <a:cubicBezTo>
                      <a:pt x="969066" y="2358420"/>
                      <a:pt x="956786" y="2362067"/>
                      <a:pt x="956786" y="2364468"/>
                    </a:cubicBezTo>
                    <a:cubicBezTo>
                      <a:pt x="956786" y="2366869"/>
                      <a:pt x="939646" y="2371923"/>
                      <a:pt x="918697" y="2375702"/>
                    </a:cubicBezTo>
                    <a:cubicBezTo>
                      <a:pt x="897749" y="2379479"/>
                      <a:pt x="858669" y="2386686"/>
                      <a:pt x="831855" y="2391717"/>
                    </a:cubicBezTo>
                    <a:cubicBezTo>
                      <a:pt x="786871" y="2400158"/>
                      <a:pt x="591361" y="2405394"/>
                      <a:pt x="584314" y="2398347"/>
                    </a:cubicBezTo>
                    <a:cubicBezTo>
                      <a:pt x="582797" y="2396830"/>
                      <a:pt x="566571" y="2392971"/>
                      <a:pt x="548257" y="2389771"/>
                    </a:cubicBezTo>
                    <a:cubicBezTo>
                      <a:pt x="468129" y="2375769"/>
                      <a:pt x="435331" y="2368800"/>
                      <a:pt x="429639" y="2364568"/>
                    </a:cubicBezTo>
                    <a:cubicBezTo>
                      <a:pt x="426287" y="2362074"/>
                      <a:pt x="412576" y="2358061"/>
                      <a:pt x="399169" y="2355648"/>
                    </a:cubicBezTo>
                    <a:cubicBezTo>
                      <a:pt x="385761" y="2353236"/>
                      <a:pt x="372049" y="2349150"/>
                      <a:pt x="368697" y="2346569"/>
                    </a:cubicBezTo>
                    <a:cubicBezTo>
                      <a:pt x="365345" y="2343987"/>
                      <a:pt x="348892" y="2336840"/>
                      <a:pt x="332132" y="2330684"/>
                    </a:cubicBezTo>
                    <a:cubicBezTo>
                      <a:pt x="273392" y="2309108"/>
                      <a:pt x="149959" y="2238964"/>
                      <a:pt x="115851" y="2207777"/>
                    </a:cubicBezTo>
                    <a:cubicBezTo>
                      <a:pt x="107506" y="2200146"/>
                      <a:pt x="98676" y="2193904"/>
                      <a:pt x="96231" y="2193904"/>
                    </a:cubicBezTo>
                    <a:cubicBezTo>
                      <a:pt x="92440" y="2193904"/>
                      <a:pt x="49554" y="2156307"/>
                      <a:pt x="11074" y="2119250"/>
                    </a:cubicBezTo>
                    <a:cubicBezTo>
                      <a:pt x="455" y="2109024"/>
                      <a:pt x="0" y="2065581"/>
                      <a:pt x="0" y="1063932"/>
                    </a:cubicBezTo>
                    <a:cubicBezTo>
                      <a:pt x="0" y="489373"/>
                      <a:pt x="1664" y="14942"/>
                      <a:pt x="3699" y="9640"/>
                    </a:cubicBezTo>
                    <a:cubicBezTo>
                      <a:pt x="7009" y="1016"/>
                      <a:pt x="41844" y="0"/>
                      <a:pt x="334458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2BFBB5D-A006-4A12-A25A-F73964CA6F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69277" y="2870729"/>
                <a:ext cx="1942794" cy="1949095"/>
              </a:xfrm>
              <a:custGeom>
                <a:avLst/>
                <a:gdLst>
                  <a:gd name="connsiteX0" fmla="*/ 479067 w 1942794"/>
                  <a:gd name="connsiteY0" fmla="*/ 4 h 1949095"/>
                  <a:gd name="connsiteX1" fmla="*/ 970497 w 1942794"/>
                  <a:gd name="connsiteY1" fmla="*/ 464 h 1949095"/>
                  <a:gd name="connsiteX2" fmla="*/ 1940995 w 1942794"/>
                  <a:gd name="connsiteY2" fmla="*/ 2005 h 1949095"/>
                  <a:gd name="connsiteX3" fmla="*/ 1942538 w 1942794"/>
                  <a:gd name="connsiteY3" fmla="*/ 975550 h 1949095"/>
                  <a:gd name="connsiteX4" fmla="*/ 1938535 w 1942794"/>
                  <a:gd name="connsiteY4" fmla="*/ 1949095 h 1949095"/>
                  <a:gd name="connsiteX5" fmla="*/ 966494 w 1942794"/>
                  <a:gd name="connsiteY5" fmla="*/ 982133 h 1949095"/>
                  <a:gd name="connsiteX6" fmla="*/ 0 w 1942794"/>
                  <a:gd name="connsiteY6" fmla="*/ 7046 h 1949095"/>
                  <a:gd name="connsiteX7" fmla="*/ 479067 w 1942794"/>
                  <a:gd name="connsiteY7" fmla="*/ 4 h 1949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42794" h="1949095">
                    <a:moveTo>
                      <a:pt x="479067" y="4"/>
                    </a:moveTo>
                    <a:cubicBezTo>
                      <a:pt x="607806" y="-26"/>
                      <a:pt x="769140" y="144"/>
                      <a:pt x="970497" y="464"/>
                    </a:cubicBezTo>
                    <a:lnTo>
                      <a:pt x="1940995" y="2005"/>
                    </a:lnTo>
                    <a:lnTo>
                      <a:pt x="1942538" y="975550"/>
                    </a:lnTo>
                    <a:cubicBezTo>
                      <a:pt x="1943459" y="1557344"/>
                      <a:pt x="1941848" y="1949095"/>
                      <a:pt x="1938535" y="1949095"/>
                    </a:cubicBezTo>
                    <a:cubicBezTo>
                      <a:pt x="1935485" y="1949095"/>
                      <a:pt x="1498067" y="1513962"/>
                      <a:pt x="966494" y="982133"/>
                    </a:cubicBezTo>
                    <a:cubicBezTo>
                      <a:pt x="434923" y="450303"/>
                      <a:pt x="0" y="11515"/>
                      <a:pt x="0" y="7046"/>
                    </a:cubicBezTo>
                    <a:cubicBezTo>
                      <a:pt x="0" y="1989"/>
                      <a:pt x="92852" y="95"/>
                      <a:pt x="479067" y="4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43032152-601F-4CB0-97F2-7F0645EF2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3678" y="2931370"/>
                <a:ext cx="2150576" cy="3240021"/>
              </a:xfrm>
              <a:custGeom>
                <a:avLst/>
                <a:gdLst>
                  <a:gd name="connsiteX0" fmla="*/ 6377 w 2150576"/>
                  <a:gd name="connsiteY0" fmla="*/ 133 h 3240021"/>
                  <a:gd name="connsiteX1" fmla="*/ 636700 w 2150576"/>
                  <a:gd name="connsiteY1" fmla="*/ 616296 h 3240021"/>
                  <a:gd name="connsiteX2" fmla="*/ 1051104 w 2150576"/>
                  <a:gd name="connsiteY2" fmla="*/ 1026317 h 3240021"/>
                  <a:gd name="connsiteX3" fmla="*/ 1614815 w 2150576"/>
                  <a:gd name="connsiteY3" fmla="*/ 1584287 h 3240021"/>
                  <a:gd name="connsiteX4" fmla="*/ 2141034 w 2150576"/>
                  <a:gd name="connsiteY4" fmla="*/ 2103385 h 3240021"/>
                  <a:gd name="connsiteX5" fmla="*/ 2149004 w 2150576"/>
                  <a:gd name="connsiteY5" fmla="*/ 2199611 h 3240021"/>
                  <a:gd name="connsiteX6" fmla="*/ 2136926 w 2150576"/>
                  <a:gd name="connsiteY6" fmla="*/ 2345517 h 3240021"/>
                  <a:gd name="connsiteX7" fmla="*/ 2095515 w 2150576"/>
                  <a:gd name="connsiteY7" fmla="*/ 2509044 h 3240021"/>
                  <a:gd name="connsiteX8" fmla="*/ 2090161 w 2150576"/>
                  <a:gd name="connsiteY8" fmla="*/ 2522530 h 3240021"/>
                  <a:gd name="connsiteX9" fmla="*/ 2004521 w 2150576"/>
                  <a:gd name="connsiteY9" fmla="*/ 2714215 h 3240021"/>
                  <a:gd name="connsiteX10" fmla="*/ 1988731 w 2150576"/>
                  <a:gd name="connsiteY10" fmla="*/ 2741638 h 3240021"/>
                  <a:gd name="connsiteX11" fmla="*/ 1964287 w 2150576"/>
                  <a:gd name="connsiteY11" fmla="*/ 2776182 h 3240021"/>
                  <a:gd name="connsiteX12" fmla="*/ 1943900 w 2150576"/>
                  <a:gd name="connsiteY12" fmla="*/ 2806025 h 3240021"/>
                  <a:gd name="connsiteX13" fmla="*/ 1664400 w 2150576"/>
                  <a:gd name="connsiteY13" fmla="*/ 3070724 h 3240021"/>
                  <a:gd name="connsiteX14" fmla="*/ 1656458 w 2150576"/>
                  <a:gd name="connsiteY14" fmla="*/ 3075535 h 3240021"/>
                  <a:gd name="connsiteX15" fmla="*/ 1541684 w 2150576"/>
                  <a:gd name="connsiteY15" fmla="*/ 3141878 h 3240021"/>
                  <a:gd name="connsiteX16" fmla="*/ 1435556 w 2150576"/>
                  <a:gd name="connsiteY16" fmla="*/ 3186512 h 3240021"/>
                  <a:gd name="connsiteX17" fmla="*/ 1415148 w 2150576"/>
                  <a:gd name="connsiteY17" fmla="*/ 3192582 h 3240021"/>
                  <a:gd name="connsiteX18" fmla="*/ 1252211 w 2150576"/>
                  <a:gd name="connsiteY18" fmla="*/ 3232582 h 3240021"/>
                  <a:gd name="connsiteX19" fmla="*/ 889608 w 2150576"/>
                  <a:gd name="connsiteY19" fmla="*/ 3232520 h 3240021"/>
                  <a:gd name="connsiteX20" fmla="*/ 889608 w 2150576"/>
                  <a:gd name="connsiteY20" fmla="*/ 3232549 h 3240021"/>
                  <a:gd name="connsiteX21" fmla="*/ 828666 w 2150576"/>
                  <a:gd name="connsiteY21" fmla="*/ 3221890 h 3240021"/>
                  <a:gd name="connsiteX22" fmla="*/ 776866 w 2150576"/>
                  <a:gd name="connsiteY22" fmla="*/ 3207676 h 3240021"/>
                  <a:gd name="connsiteX23" fmla="*/ 728417 w 2150576"/>
                  <a:gd name="connsiteY23" fmla="*/ 3191792 h 3240021"/>
                  <a:gd name="connsiteX24" fmla="*/ 714102 w 2150576"/>
                  <a:gd name="connsiteY24" fmla="*/ 3186512 h 3240021"/>
                  <a:gd name="connsiteX25" fmla="*/ 686374 w 2150576"/>
                  <a:gd name="connsiteY25" fmla="*/ 3178094 h 3240021"/>
                  <a:gd name="connsiteX26" fmla="*/ 642793 w 2150576"/>
                  <a:gd name="connsiteY26" fmla="*/ 3159335 h 3240021"/>
                  <a:gd name="connsiteX27" fmla="*/ 517868 w 2150576"/>
                  <a:gd name="connsiteY27" fmla="*/ 3095101 h 3240021"/>
                  <a:gd name="connsiteX28" fmla="*/ 498656 w 2150576"/>
                  <a:gd name="connsiteY28" fmla="*/ 3082912 h 3240021"/>
                  <a:gd name="connsiteX29" fmla="*/ 420356 w 2150576"/>
                  <a:gd name="connsiteY29" fmla="*/ 3026639 h 3240021"/>
                  <a:gd name="connsiteX30" fmla="*/ 414888 w 2150576"/>
                  <a:gd name="connsiteY30" fmla="*/ 3021971 h 3240021"/>
                  <a:gd name="connsiteX31" fmla="*/ 255813 w 2150576"/>
                  <a:gd name="connsiteY31" fmla="*/ 2871540 h 3240021"/>
                  <a:gd name="connsiteX32" fmla="*/ 249959 w 2150576"/>
                  <a:gd name="connsiteY32" fmla="*/ 2863521 h 3240021"/>
                  <a:gd name="connsiteX33" fmla="*/ 127836 w 2150576"/>
                  <a:gd name="connsiteY33" fmla="*/ 2687890 h 3240021"/>
                  <a:gd name="connsiteX34" fmla="*/ 123229 w 2150576"/>
                  <a:gd name="connsiteY34" fmla="*/ 2680697 h 3240021"/>
                  <a:gd name="connsiteX35" fmla="*/ 110343 w 2150576"/>
                  <a:gd name="connsiteY35" fmla="*/ 2660890 h 3240021"/>
                  <a:gd name="connsiteX36" fmla="*/ 90574 w 2150576"/>
                  <a:gd name="connsiteY36" fmla="*/ 2618043 h 3240021"/>
                  <a:gd name="connsiteX37" fmla="*/ 79083 w 2150576"/>
                  <a:gd name="connsiteY37" fmla="*/ 2583002 h 3240021"/>
                  <a:gd name="connsiteX38" fmla="*/ 73913 w 2150576"/>
                  <a:gd name="connsiteY38" fmla="*/ 2571002 h 3240021"/>
                  <a:gd name="connsiteX39" fmla="*/ 48611 w 2150576"/>
                  <a:gd name="connsiteY39" fmla="*/ 2500219 h 3240021"/>
                  <a:gd name="connsiteX40" fmla="*/ 43678 w 2150576"/>
                  <a:gd name="connsiteY40" fmla="*/ 2491778 h 3240021"/>
                  <a:gd name="connsiteX41" fmla="*/ 31317 w 2150576"/>
                  <a:gd name="connsiteY41" fmla="*/ 2453689 h 3240021"/>
                  <a:gd name="connsiteX42" fmla="*/ 18163 w 2150576"/>
                  <a:gd name="connsiteY42" fmla="*/ 2388177 h 3240021"/>
                  <a:gd name="connsiteX43" fmla="*/ 6608 w 2150576"/>
                  <a:gd name="connsiteY43" fmla="*/ 2327235 h 3240021"/>
                  <a:gd name="connsiteX44" fmla="*/ 6377 w 2150576"/>
                  <a:gd name="connsiteY44" fmla="*/ 133 h 3240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150576" h="3240021">
                    <a:moveTo>
                      <a:pt x="6377" y="133"/>
                    </a:moveTo>
                    <a:cubicBezTo>
                      <a:pt x="13282" y="-2169"/>
                      <a:pt x="34810" y="18874"/>
                      <a:pt x="636700" y="616296"/>
                    </a:cubicBezTo>
                    <a:cubicBezTo>
                      <a:pt x="837807" y="815911"/>
                      <a:pt x="1024289" y="1000420"/>
                      <a:pt x="1051104" y="1026317"/>
                    </a:cubicBezTo>
                    <a:cubicBezTo>
                      <a:pt x="1077918" y="1052214"/>
                      <a:pt x="1331588" y="1303300"/>
                      <a:pt x="1614815" y="1584287"/>
                    </a:cubicBezTo>
                    <a:cubicBezTo>
                      <a:pt x="1898042" y="1865274"/>
                      <a:pt x="2134840" y="2098868"/>
                      <a:pt x="2141034" y="2103385"/>
                    </a:cubicBezTo>
                    <a:cubicBezTo>
                      <a:pt x="2151367" y="2110922"/>
                      <a:pt x="2152023" y="2118856"/>
                      <a:pt x="2149004" y="2199611"/>
                    </a:cubicBezTo>
                    <a:cubicBezTo>
                      <a:pt x="2147192" y="2248017"/>
                      <a:pt x="2141758" y="2313676"/>
                      <a:pt x="2136926" y="2345517"/>
                    </a:cubicBezTo>
                    <a:cubicBezTo>
                      <a:pt x="2126596" y="2413587"/>
                      <a:pt x="2103157" y="2506144"/>
                      <a:pt x="2095515" y="2509044"/>
                    </a:cubicBezTo>
                    <a:cubicBezTo>
                      <a:pt x="2092570" y="2510162"/>
                      <a:pt x="2090161" y="2516230"/>
                      <a:pt x="2090161" y="2522530"/>
                    </a:cubicBezTo>
                    <a:cubicBezTo>
                      <a:pt x="2090161" y="2543734"/>
                      <a:pt x="2035701" y="2665630"/>
                      <a:pt x="2004521" y="2714215"/>
                    </a:cubicBezTo>
                    <a:cubicBezTo>
                      <a:pt x="1998068" y="2724269"/>
                      <a:pt x="1990962" y="2736610"/>
                      <a:pt x="1988731" y="2741638"/>
                    </a:cubicBezTo>
                    <a:cubicBezTo>
                      <a:pt x="1986499" y="2746665"/>
                      <a:pt x="1975501" y="2762210"/>
                      <a:pt x="1964287" y="2776182"/>
                    </a:cubicBezTo>
                    <a:cubicBezTo>
                      <a:pt x="1953075" y="2790154"/>
                      <a:pt x="1943900" y="2803582"/>
                      <a:pt x="1943900" y="2806025"/>
                    </a:cubicBezTo>
                    <a:cubicBezTo>
                      <a:pt x="1943900" y="2833988"/>
                      <a:pt x="1693927" y="3070724"/>
                      <a:pt x="1664400" y="3070724"/>
                    </a:cubicBezTo>
                    <a:cubicBezTo>
                      <a:pt x="1661150" y="3070724"/>
                      <a:pt x="1657575" y="3072889"/>
                      <a:pt x="1656458" y="3075535"/>
                    </a:cubicBezTo>
                    <a:cubicBezTo>
                      <a:pt x="1653301" y="3083012"/>
                      <a:pt x="1598752" y="3114544"/>
                      <a:pt x="1541684" y="3141878"/>
                    </a:cubicBezTo>
                    <a:cubicBezTo>
                      <a:pt x="1464033" y="3179072"/>
                      <a:pt x="1446341" y="3186512"/>
                      <a:pt x="1435556" y="3186512"/>
                    </a:cubicBezTo>
                    <a:cubicBezTo>
                      <a:pt x="1430153" y="3186512"/>
                      <a:pt x="1420968" y="3189244"/>
                      <a:pt x="1415148" y="3192582"/>
                    </a:cubicBezTo>
                    <a:cubicBezTo>
                      <a:pt x="1394728" y="3204292"/>
                      <a:pt x="1312559" y="3224464"/>
                      <a:pt x="1252211" y="3232582"/>
                    </a:cubicBezTo>
                    <a:cubicBezTo>
                      <a:pt x="1178312" y="3242521"/>
                      <a:pt x="962769" y="3242502"/>
                      <a:pt x="889608" y="3232520"/>
                    </a:cubicBezTo>
                    <a:lnTo>
                      <a:pt x="889608" y="3232549"/>
                    </a:lnTo>
                    <a:cubicBezTo>
                      <a:pt x="861118" y="3228673"/>
                      <a:pt x="833693" y="3223877"/>
                      <a:pt x="828666" y="3221890"/>
                    </a:cubicBezTo>
                    <a:cubicBezTo>
                      <a:pt x="823638" y="3219904"/>
                      <a:pt x="800328" y="3213507"/>
                      <a:pt x="776866" y="3207676"/>
                    </a:cubicBezTo>
                    <a:cubicBezTo>
                      <a:pt x="753403" y="3201843"/>
                      <a:pt x="731601" y="3194695"/>
                      <a:pt x="728417" y="3191792"/>
                    </a:cubicBezTo>
                    <a:cubicBezTo>
                      <a:pt x="725233" y="3188888"/>
                      <a:pt x="718791" y="3186512"/>
                      <a:pt x="714102" y="3186512"/>
                    </a:cubicBezTo>
                    <a:cubicBezTo>
                      <a:pt x="709414" y="3186512"/>
                      <a:pt x="696936" y="3182725"/>
                      <a:pt x="686374" y="3178094"/>
                    </a:cubicBezTo>
                    <a:cubicBezTo>
                      <a:pt x="675812" y="3173465"/>
                      <a:pt x="656201" y="3165023"/>
                      <a:pt x="642793" y="3159335"/>
                    </a:cubicBezTo>
                    <a:cubicBezTo>
                      <a:pt x="606608" y="3143985"/>
                      <a:pt x="524590" y="3101813"/>
                      <a:pt x="517868" y="3095101"/>
                    </a:cubicBezTo>
                    <a:cubicBezTo>
                      <a:pt x="516189" y="3093424"/>
                      <a:pt x="507544" y="3087939"/>
                      <a:pt x="498656" y="3082912"/>
                    </a:cubicBezTo>
                    <a:cubicBezTo>
                      <a:pt x="468160" y="3065661"/>
                      <a:pt x="420356" y="3031305"/>
                      <a:pt x="420356" y="3026639"/>
                    </a:cubicBezTo>
                    <a:cubicBezTo>
                      <a:pt x="420356" y="3024071"/>
                      <a:pt x="417896" y="3021971"/>
                      <a:pt x="414888" y="3021971"/>
                    </a:cubicBezTo>
                    <a:cubicBezTo>
                      <a:pt x="401456" y="3021971"/>
                      <a:pt x="255813" y="2884241"/>
                      <a:pt x="255813" y="2871540"/>
                    </a:cubicBezTo>
                    <a:cubicBezTo>
                      <a:pt x="255813" y="2867129"/>
                      <a:pt x="253178" y="2863521"/>
                      <a:pt x="249959" y="2863521"/>
                    </a:cubicBezTo>
                    <a:cubicBezTo>
                      <a:pt x="239140" y="2863521"/>
                      <a:pt x="127836" y="2703448"/>
                      <a:pt x="127836" y="2687890"/>
                    </a:cubicBezTo>
                    <a:cubicBezTo>
                      <a:pt x="127836" y="2683934"/>
                      <a:pt x="125763" y="2680697"/>
                      <a:pt x="123229" y="2680697"/>
                    </a:cubicBezTo>
                    <a:cubicBezTo>
                      <a:pt x="120696" y="2680697"/>
                      <a:pt x="114897" y="2671784"/>
                      <a:pt x="110343" y="2660890"/>
                    </a:cubicBezTo>
                    <a:cubicBezTo>
                      <a:pt x="105790" y="2649998"/>
                      <a:pt x="96894" y="2630716"/>
                      <a:pt x="90574" y="2618043"/>
                    </a:cubicBezTo>
                    <a:cubicBezTo>
                      <a:pt x="84253" y="2605372"/>
                      <a:pt x="79083" y="2589603"/>
                      <a:pt x="79083" y="2583002"/>
                    </a:cubicBezTo>
                    <a:cubicBezTo>
                      <a:pt x="79083" y="2576402"/>
                      <a:pt x="76757" y="2571002"/>
                      <a:pt x="73913" y="2571002"/>
                    </a:cubicBezTo>
                    <a:cubicBezTo>
                      <a:pt x="68572" y="2571002"/>
                      <a:pt x="48611" y="2515163"/>
                      <a:pt x="48611" y="2500219"/>
                    </a:cubicBezTo>
                    <a:cubicBezTo>
                      <a:pt x="48611" y="2495576"/>
                      <a:pt x="46391" y="2491778"/>
                      <a:pt x="43678" y="2491778"/>
                    </a:cubicBezTo>
                    <a:cubicBezTo>
                      <a:pt x="40964" y="2491778"/>
                      <a:pt x="35402" y="2474638"/>
                      <a:pt x="31317" y="2453689"/>
                    </a:cubicBezTo>
                    <a:cubicBezTo>
                      <a:pt x="27232" y="2432740"/>
                      <a:pt x="21314" y="2403259"/>
                      <a:pt x="18163" y="2388177"/>
                    </a:cubicBezTo>
                    <a:cubicBezTo>
                      <a:pt x="15014" y="2373093"/>
                      <a:pt x="9814" y="2345670"/>
                      <a:pt x="6608" y="2327235"/>
                    </a:cubicBezTo>
                    <a:cubicBezTo>
                      <a:pt x="-2049" y="2277457"/>
                      <a:pt x="-2275" y="3018"/>
                      <a:pt x="6377" y="133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21B776C-A255-4DB5-87C5-216F315264EC}"/>
                </a:ext>
              </a:extLst>
            </p:cNvPr>
            <p:cNvSpPr/>
            <p:nvPr/>
          </p:nvSpPr>
          <p:spPr bwMode="ltGray">
            <a:xfrm>
              <a:off x="8224347" y="3592176"/>
              <a:ext cx="2150575" cy="3240020"/>
            </a:xfrm>
            <a:custGeom>
              <a:avLst/>
              <a:gdLst>
                <a:gd name="connsiteX0" fmla="*/ 896247 w 2166626"/>
                <a:gd name="connsiteY0" fmla="*/ 3256674 h 3264202"/>
                <a:gd name="connsiteX1" fmla="*/ 834850 w 2166626"/>
                <a:gd name="connsiteY1" fmla="*/ 3245936 h 3264202"/>
                <a:gd name="connsiteX2" fmla="*/ 782663 w 2166626"/>
                <a:gd name="connsiteY2" fmla="*/ 3231615 h 3264202"/>
                <a:gd name="connsiteX3" fmla="*/ 733853 w 2166626"/>
                <a:gd name="connsiteY3" fmla="*/ 3215613 h 3264202"/>
                <a:gd name="connsiteX4" fmla="*/ 719431 w 2166626"/>
                <a:gd name="connsiteY4" fmla="*/ 3210294 h 3264202"/>
                <a:gd name="connsiteX5" fmla="*/ 691496 w 2166626"/>
                <a:gd name="connsiteY5" fmla="*/ 3201813 h 3264202"/>
                <a:gd name="connsiteX6" fmla="*/ 647590 w 2166626"/>
                <a:gd name="connsiteY6" fmla="*/ 3182914 h 3264202"/>
                <a:gd name="connsiteX7" fmla="*/ 521732 w 2166626"/>
                <a:gd name="connsiteY7" fmla="*/ 3118200 h 3264202"/>
                <a:gd name="connsiteX8" fmla="*/ 502377 w 2166626"/>
                <a:gd name="connsiteY8" fmla="*/ 3105920 h 3264202"/>
                <a:gd name="connsiteX9" fmla="*/ 423493 w 2166626"/>
                <a:gd name="connsiteY9" fmla="*/ 3049227 h 3264202"/>
                <a:gd name="connsiteX10" fmla="*/ 417984 w 2166626"/>
                <a:gd name="connsiteY10" fmla="*/ 3044524 h 3264202"/>
                <a:gd name="connsiteX11" fmla="*/ 257722 w 2166626"/>
                <a:gd name="connsiteY11" fmla="*/ 2892971 h 3264202"/>
                <a:gd name="connsiteX12" fmla="*/ 251824 w 2166626"/>
                <a:gd name="connsiteY12" fmla="*/ 2884892 h 3264202"/>
                <a:gd name="connsiteX13" fmla="*/ 128789 w 2166626"/>
                <a:gd name="connsiteY13" fmla="*/ 2707950 h 3264202"/>
                <a:gd name="connsiteX14" fmla="*/ 124148 w 2166626"/>
                <a:gd name="connsiteY14" fmla="*/ 2700703 h 3264202"/>
                <a:gd name="connsiteX15" fmla="*/ 111166 w 2166626"/>
                <a:gd name="connsiteY15" fmla="*/ 2680749 h 3264202"/>
                <a:gd name="connsiteX16" fmla="*/ 91249 w 2166626"/>
                <a:gd name="connsiteY16" fmla="*/ 2637582 h 3264202"/>
                <a:gd name="connsiteX17" fmla="*/ 79672 w 2166626"/>
                <a:gd name="connsiteY17" fmla="*/ 2602279 h 3264202"/>
                <a:gd name="connsiteX18" fmla="*/ 74464 w 2166626"/>
                <a:gd name="connsiteY18" fmla="*/ 2590190 h 3264202"/>
                <a:gd name="connsiteX19" fmla="*/ 48973 w 2166626"/>
                <a:gd name="connsiteY19" fmla="*/ 2518878 h 3264202"/>
                <a:gd name="connsiteX20" fmla="*/ 44003 w 2166626"/>
                <a:gd name="connsiteY20" fmla="*/ 2510374 h 3264202"/>
                <a:gd name="connsiteX21" fmla="*/ 31550 w 2166626"/>
                <a:gd name="connsiteY21" fmla="*/ 2472001 h 3264202"/>
                <a:gd name="connsiteX22" fmla="*/ 18298 w 2166626"/>
                <a:gd name="connsiteY22" fmla="*/ 2406000 h 3264202"/>
                <a:gd name="connsiteX23" fmla="*/ 6657 w 2166626"/>
                <a:gd name="connsiteY23" fmla="*/ 2344603 h 3264202"/>
                <a:gd name="connsiteX24" fmla="*/ 6424 w 2166626"/>
                <a:gd name="connsiteY24" fmla="*/ 133 h 3264202"/>
                <a:gd name="connsiteX25" fmla="*/ 641451 w 2166626"/>
                <a:gd name="connsiteY25" fmla="*/ 620895 h 3264202"/>
                <a:gd name="connsiteX26" fmla="*/ 1058948 w 2166626"/>
                <a:gd name="connsiteY26" fmla="*/ 1033976 h 3264202"/>
                <a:gd name="connsiteX27" fmla="*/ 1626866 w 2166626"/>
                <a:gd name="connsiteY27" fmla="*/ 1596110 h 3264202"/>
                <a:gd name="connsiteX28" fmla="*/ 2157013 w 2166626"/>
                <a:gd name="connsiteY28" fmla="*/ 2119083 h 3264202"/>
                <a:gd name="connsiteX29" fmla="*/ 2165042 w 2166626"/>
                <a:gd name="connsiteY29" fmla="*/ 2216027 h 3264202"/>
                <a:gd name="connsiteX30" fmla="*/ 2152874 w 2166626"/>
                <a:gd name="connsiteY30" fmla="*/ 2363022 h 3264202"/>
                <a:gd name="connsiteX31" fmla="*/ 2111154 w 2166626"/>
                <a:gd name="connsiteY31" fmla="*/ 2527769 h 3264202"/>
                <a:gd name="connsiteX32" fmla="*/ 2105760 w 2166626"/>
                <a:gd name="connsiteY32" fmla="*/ 2541356 h 3264202"/>
                <a:gd name="connsiteX33" fmla="*/ 2019481 w 2166626"/>
                <a:gd name="connsiteY33" fmla="*/ 2734471 h 3264202"/>
                <a:gd name="connsiteX34" fmla="*/ 2003573 w 2166626"/>
                <a:gd name="connsiteY34" fmla="*/ 2762099 h 3264202"/>
                <a:gd name="connsiteX35" fmla="*/ 1978947 w 2166626"/>
                <a:gd name="connsiteY35" fmla="*/ 2796901 h 3264202"/>
                <a:gd name="connsiteX36" fmla="*/ 1958408 w 2166626"/>
                <a:gd name="connsiteY36" fmla="*/ 2826967 h 3264202"/>
                <a:gd name="connsiteX37" fmla="*/ 1676822 w 2166626"/>
                <a:gd name="connsiteY37" fmla="*/ 3093641 h 3264202"/>
                <a:gd name="connsiteX38" fmla="*/ 1668820 w 2166626"/>
                <a:gd name="connsiteY38" fmla="*/ 3098488 h 3264202"/>
                <a:gd name="connsiteX39" fmla="*/ 1553190 w 2166626"/>
                <a:gd name="connsiteY39" fmla="*/ 3165326 h 3264202"/>
                <a:gd name="connsiteX40" fmla="*/ 1446270 w 2166626"/>
                <a:gd name="connsiteY40" fmla="*/ 3210294 h 3264202"/>
                <a:gd name="connsiteX41" fmla="*/ 1425709 w 2166626"/>
                <a:gd name="connsiteY41" fmla="*/ 3216409 h 3264202"/>
                <a:gd name="connsiteX42" fmla="*/ 1261556 w 2166626"/>
                <a:gd name="connsiteY42" fmla="*/ 3256707 h 3264202"/>
                <a:gd name="connsiteX43" fmla="*/ 896247 w 2166626"/>
                <a:gd name="connsiteY43" fmla="*/ 3256645 h 326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66626" h="3264202">
                  <a:moveTo>
                    <a:pt x="896247" y="3256674"/>
                  </a:moveTo>
                  <a:cubicBezTo>
                    <a:pt x="867544" y="3252769"/>
                    <a:pt x="839915" y="3247937"/>
                    <a:pt x="834850" y="3245936"/>
                  </a:cubicBezTo>
                  <a:cubicBezTo>
                    <a:pt x="829785" y="3243935"/>
                    <a:pt x="806301" y="3237490"/>
                    <a:pt x="782663" y="3231615"/>
                  </a:cubicBezTo>
                  <a:cubicBezTo>
                    <a:pt x="759025" y="3225739"/>
                    <a:pt x="737061" y="3218538"/>
                    <a:pt x="733853" y="3215613"/>
                  </a:cubicBezTo>
                  <a:cubicBezTo>
                    <a:pt x="730645" y="3212687"/>
                    <a:pt x="724155" y="3210294"/>
                    <a:pt x="719431" y="3210294"/>
                  </a:cubicBezTo>
                  <a:cubicBezTo>
                    <a:pt x="714708" y="3210294"/>
                    <a:pt x="702137" y="3206478"/>
                    <a:pt x="691496" y="3201813"/>
                  </a:cubicBezTo>
                  <a:cubicBezTo>
                    <a:pt x="680855" y="3197149"/>
                    <a:pt x="661098" y="3188644"/>
                    <a:pt x="647590" y="3182914"/>
                  </a:cubicBezTo>
                  <a:cubicBezTo>
                    <a:pt x="611135" y="3167449"/>
                    <a:pt x="528505" y="3124962"/>
                    <a:pt x="521732" y="3118200"/>
                  </a:cubicBezTo>
                  <a:cubicBezTo>
                    <a:pt x="520041" y="3116511"/>
                    <a:pt x="511331" y="3110985"/>
                    <a:pt x="502377" y="3105920"/>
                  </a:cubicBezTo>
                  <a:cubicBezTo>
                    <a:pt x="471653" y="3088541"/>
                    <a:pt x="423493" y="3053928"/>
                    <a:pt x="423493" y="3049227"/>
                  </a:cubicBezTo>
                  <a:cubicBezTo>
                    <a:pt x="423493" y="3046640"/>
                    <a:pt x="421014" y="3044524"/>
                    <a:pt x="417984" y="3044524"/>
                  </a:cubicBezTo>
                  <a:cubicBezTo>
                    <a:pt x="404452" y="3044524"/>
                    <a:pt x="257722" y="2905767"/>
                    <a:pt x="257722" y="2892971"/>
                  </a:cubicBezTo>
                  <a:cubicBezTo>
                    <a:pt x="257722" y="2888527"/>
                    <a:pt x="255067" y="2884892"/>
                    <a:pt x="251824" y="2884892"/>
                  </a:cubicBezTo>
                  <a:cubicBezTo>
                    <a:pt x="240924" y="2884892"/>
                    <a:pt x="128789" y="2723624"/>
                    <a:pt x="128789" y="2707950"/>
                  </a:cubicBezTo>
                  <a:cubicBezTo>
                    <a:pt x="128789" y="2703964"/>
                    <a:pt x="126701" y="2700703"/>
                    <a:pt x="124148" y="2700703"/>
                  </a:cubicBezTo>
                  <a:cubicBezTo>
                    <a:pt x="121596" y="2700703"/>
                    <a:pt x="115754" y="2691724"/>
                    <a:pt x="111166" y="2680749"/>
                  </a:cubicBezTo>
                  <a:cubicBezTo>
                    <a:pt x="106579" y="2669775"/>
                    <a:pt x="97616" y="2650349"/>
                    <a:pt x="91249" y="2637582"/>
                  </a:cubicBezTo>
                  <a:cubicBezTo>
                    <a:pt x="84881" y="2624816"/>
                    <a:pt x="79672" y="2608929"/>
                    <a:pt x="79672" y="2602279"/>
                  </a:cubicBezTo>
                  <a:cubicBezTo>
                    <a:pt x="79672" y="2595630"/>
                    <a:pt x="77329" y="2590190"/>
                    <a:pt x="74464" y="2590190"/>
                  </a:cubicBezTo>
                  <a:cubicBezTo>
                    <a:pt x="69083" y="2590190"/>
                    <a:pt x="48973" y="2533934"/>
                    <a:pt x="48973" y="2518878"/>
                  </a:cubicBezTo>
                  <a:cubicBezTo>
                    <a:pt x="48973" y="2514201"/>
                    <a:pt x="46736" y="2510374"/>
                    <a:pt x="44003" y="2510374"/>
                  </a:cubicBezTo>
                  <a:cubicBezTo>
                    <a:pt x="41269" y="2510374"/>
                    <a:pt x="35665" y="2493106"/>
                    <a:pt x="31550" y="2472001"/>
                  </a:cubicBezTo>
                  <a:cubicBezTo>
                    <a:pt x="27434" y="2450896"/>
                    <a:pt x="21472" y="2421195"/>
                    <a:pt x="18298" y="2406000"/>
                  </a:cubicBezTo>
                  <a:cubicBezTo>
                    <a:pt x="15125" y="2390804"/>
                    <a:pt x="9886" y="2363176"/>
                    <a:pt x="6657" y="2344603"/>
                  </a:cubicBezTo>
                  <a:cubicBezTo>
                    <a:pt x="-2065" y="2294454"/>
                    <a:pt x="-2293" y="3039"/>
                    <a:pt x="6424" y="133"/>
                  </a:cubicBezTo>
                  <a:cubicBezTo>
                    <a:pt x="13380" y="-2186"/>
                    <a:pt x="35069" y="19014"/>
                    <a:pt x="641451" y="620895"/>
                  </a:cubicBezTo>
                  <a:cubicBezTo>
                    <a:pt x="844059" y="821999"/>
                    <a:pt x="1031933" y="1007886"/>
                    <a:pt x="1058948" y="1033976"/>
                  </a:cubicBezTo>
                  <a:cubicBezTo>
                    <a:pt x="1085962" y="1060066"/>
                    <a:pt x="1341526" y="1313026"/>
                    <a:pt x="1626866" y="1596110"/>
                  </a:cubicBezTo>
                  <a:cubicBezTo>
                    <a:pt x="1912207" y="1879194"/>
                    <a:pt x="2150773" y="2114532"/>
                    <a:pt x="2157013" y="2119083"/>
                  </a:cubicBezTo>
                  <a:cubicBezTo>
                    <a:pt x="2167423" y="2126676"/>
                    <a:pt x="2168084" y="2134669"/>
                    <a:pt x="2165042" y="2216027"/>
                  </a:cubicBezTo>
                  <a:cubicBezTo>
                    <a:pt x="2163217" y="2264794"/>
                    <a:pt x="2157742" y="2330943"/>
                    <a:pt x="2152874" y="2363022"/>
                  </a:cubicBezTo>
                  <a:cubicBezTo>
                    <a:pt x="2142467" y="2431600"/>
                    <a:pt x="2118853" y="2524848"/>
                    <a:pt x="2111154" y="2527769"/>
                  </a:cubicBezTo>
                  <a:cubicBezTo>
                    <a:pt x="2108187" y="2528896"/>
                    <a:pt x="2105760" y="2535009"/>
                    <a:pt x="2105760" y="2541356"/>
                  </a:cubicBezTo>
                  <a:cubicBezTo>
                    <a:pt x="2105760" y="2562718"/>
                    <a:pt x="2050894" y="2685524"/>
                    <a:pt x="2019481" y="2734471"/>
                  </a:cubicBezTo>
                  <a:cubicBezTo>
                    <a:pt x="2012980" y="2744601"/>
                    <a:pt x="2005821" y="2757034"/>
                    <a:pt x="2003573" y="2762099"/>
                  </a:cubicBezTo>
                  <a:cubicBezTo>
                    <a:pt x="2001325" y="2767164"/>
                    <a:pt x="1990244" y="2782825"/>
                    <a:pt x="1978947" y="2796901"/>
                  </a:cubicBezTo>
                  <a:cubicBezTo>
                    <a:pt x="1967651" y="2810977"/>
                    <a:pt x="1958408" y="2824506"/>
                    <a:pt x="1958408" y="2826967"/>
                  </a:cubicBezTo>
                  <a:cubicBezTo>
                    <a:pt x="1958408" y="2855138"/>
                    <a:pt x="1706569" y="3093641"/>
                    <a:pt x="1676822" y="3093641"/>
                  </a:cubicBezTo>
                  <a:cubicBezTo>
                    <a:pt x="1673547" y="3093641"/>
                    <a:pt x="1669946" y="3095822"/>
                    <a:pt x="1668820" y="3098488"/>
                  </a:cubicBezTo>
                  <a:cubicBezTo>
                    <a:pt x="1665640" y="3106021"/>
                    <a:pt x="1610684" y="3137788"/>
                    <a:pt x="1553190" y="3165326"/>
                  </a:cubicBezTo>
                  <a:cubicBezTo>
                    <a:pt x="1474959" y="3202798"/>
                    <a:pt x="1457135" y="3210294"/>
                    <a:pt x="1446270" y="3210294"/>
                  </a:cubicBezTo>
                  <a:cubicBezTo>
                    <a:pt x="1440826" y="3210294"/>
                    <a:pt x="1431573" y="3213046"/>
                    <a:pt x="1425709" y="3216409"/>
                  </a:cubicBezTo>
                  <a:cubicBezTo>
                    <a:pt x="1405137" y="3228206"/>
                    <a:pt x="1322355" y="3248529"/>
                    <a:pt x="1261556" y="3256707"/>
                  </a:cubicBezTo>
                  <a:cubicBezTo>
                    <a:pt x="1187106" y="3266721"/>
                    <a:pt x="969954" y="3266701"/>
                    <a:pt x="896247" y="3256645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ACD7E31-480C-48CD-B20F-FC2D72107278}"/>
                </a:ext>
              </a:extLst>
            </p:cNvPr>
            <p:cNvSpPr/>
            <p:nvPr/>
          </p:nvSpPr>
          <p:spPr bwMode="ltGray">
            <a:xfrm>
              <a:off x="10479049" y="3530493"/>
              <a:ext cx="1674822" cy="2401637"/>
            </a:xfrm>
            <a:custGeom>
              <a:avLst/>
              <a:gdLst>
                <a:gd name="connsiteX0" fmla="*/ 588675 w 1687322"/>
                <a:gd name="connsiteY0" fmla="*/ 2416247 h 2419562"/>
                <a:gd name="connsiteX1" fmla="*/ 552349 w 1687322"/>
                <a:gd name="connsiteY1" fmla="*/ 2407607 h 2419562"/>
                <a:gd name="connsiteX2" fmla="*/ 432846 w 1687322"/>
                <a:gd name="connsiteY2" fmla="*/ 2382216 h 2419562"/>
                <a:gd name="connsiteX3" fmla="*/ 402148 w 1687322"/>
                <a:gd name="connsiteY3" fmla="*/ 2373230 h 2419562"/>
                <a:gd name="connsiteX4" fmla="*/ 371449 w 1687322"/>
                <a:gd name="connsiteY4" fmla="*/ 2364083 h 2419562"/>
                <a:gd name="connsiteX5" fmla="*/ 334611 w 1687322"/>
                <a:gd name="connsiteY5" fmla="*/ 2348079 h 2419562"/>
                <a:gd name="connsiteX6" fmla="*/ 116716 w 1687322"/>
                <a:gd name="connsiteY6" fmla="*/ 2224255 h 2419562"/>
                <a:gd name="connsiteX7" fmla="*/ 96949 w 1687322"/>
                <a:gd name="connsiteY7" fmla="*/ 2210278 h 2419562"/>
                <a:gd name="connsiteX8" fmla="*/ 11157 w 1687322"/>
                <a:gd name="connsiteY8" fmla="*/ 2135067 h 2419562"/>
                <a:gd name="connsiteX9" fmla="*/ 0 w 1687322"/>
                <a:gd name="connsiteY9" fmla="*/ 1071873 h 2419562"/>
                <a:gd name="connsiteX10" fmla="*/ 3727 w 1687322"/>
                <a:gd name="connsiteY10" fmla="*/ 9712 h 2419562"/>
                <a:gd name="connsiteX11" fmla="*/ 336954 w 1687322"/>
                <a:gd name="connsiteY11" fmla="*/ 0 h 2419562"/>
                <a:gd name="connsiteX12" fmla="*/ 666454 w 1687322"/>
                <a:gd name="connsiteY12" fmla="*/ 0 h 2419562"/>
                <a:gd name="connsiteX13" fmla="*/ 1068760 w 1687322"/>
                <a:gd name="connsiteY13" fmla="*/ 403683 h 2419562"/>
                <a:gd name="connsiteX14" fmla="*/ 1509074 w 1687322"/>
                <a:gd name="connsiteY14" fmla="*/ 862622 h 2419562"/>
                <a:gd name="connsiteX15" fmla="*/ 1551939 w 1687322"/>
                <a:gd name="connsiteY15" fmla="*/ 924019 h 2419562"/>
                <a:gd name="connsiteX16" fmla="*/ 1620908 w 1687322"/>
                <a:gd name="connsiteY16" fmla="*/ 1064159 h 2419562"/>
                <a:gd name="connsiteX17" fmla="*/ 1628876 w 1687322"/>
                <a:gd name="connsiteY17" fmla="*/ 1086720 h 2419562"/>
                <a:gd name="connsiteX18" fmla="*/ 1679444 w 1687322"/>
                <a:gd name="connsiteY18" fmla="*/ 1277049 h 2419562"/>
                <a:gd name="connsiteX19" fmla="*/ 1674299 w 1687322"/>
                <a:gd name="connsiteY19" fmla="*/ 1611661 h 2419562"/>
                <a:gd name="connsiteX20" fmla="*/ 1633587 w 1687322"/>
                <a:gd name="connsiteY20" fmla="*/ 1758877 h 2419562"/>
                <a:gd name="connsiteX21" fmla="*/ 1624629 w 1687322"/>
                <a:gd name="connsiteY21" fmla="*/ 1782197 h 2419562"/>
                <a:gd name="connsiteX22" fmla="*/ 1531058 w 1687322"/>
                <a:gd name="connsiteY22" fmla="*/ 1965175 h 2419562"/>
                <a:gd name="connsiteX23" fmla="*/ 1522636 w 1687322"/>
                <a:gd name="connsiteY23" fmla="*/ 1980703 h 2419562"/>
                <a:gd name="connsiteX24" fmla="*/ 1510356 w 1687322"/>
                <a:gd name="connsiteY24" fmla="*/ 1995389 h 2419562"/>
                <a:gd name="connsiteX25" fmla="*/ 1498077 w 1687322"/>
                <a:gd name="connsiteY25" fmla="*/ 2011071 h 2419562"/>
                <a:gd name="connsiteX26" fmla="*/ 1479829 w 1687322"/>
                <a:gd name="connsiteY26" fmla="*/ 2035809 h 2419562"/>
                <a:gd name="connsiteX27" fmla="*/ 1461410 w 1687322"/>
                <a:gd name="connsiteY27" fmla="*/ 2058846 h 2419562"/>
                <a:gd name="connsiteX28" fmla="*/ 1270760 w 1687322"/>
                <a:gd name="connsiteY28" fmla="*/ 2234837 h 2419562"/>
                <a:gd name="connsiteX29" fmla="*/ 1240844 w 1687322"/>
                <a:gd name="connsiteY29" fmla="*/ 2256325 h 2419562"/>
                <a:gd name="connsiteX30" fmla="*/ 1212534 w 1687322"/>
                <a:gd name="connsiteY30" fmla="*/ 2276010 h 2419562"/>
                <a:gd name="connsiteX31" fmla="*/ 1056022 w 1687322"/>
                <a:gd name="connsiteY31" fmla="*/ 2353036 h 2419562"/>
                <a:gd name="connsiteX32" fmla="*/ 1029793 w 1687322"/>
                <a:gd name="connsiteY32" fmla="*/ 2364622 h 2419562"/>
                <a:gd name="connsiteX33" fmla="*/ 991421 w 1687322"/>
                <a:gd name="connsiteY33" fmla="*/ 2373949 h 2419562"/>
                <a:gd name="connsiteX34" fmla="*/ 963927 w 1687322"/>
                <a:gd name="connsiteY34" fmla="*/ 2382115 h 2419562"/>
                <a:gd name="connsiteX35" fmla="*/ 925554 w 1687322"/>
                <a:gd name="connsiteY35" fmla="*/ 2393433 h 2419562"/>
                <a:gd name="connsiteX36" fmla="*/ 838064 w 1687322"/>
                <a:gd name="connsiteY36" fmla="*/ 2409568 h 2419562"/>
                <a:gd name="connsiteX37" fmla="*/ 588675 w 1687322"/>
                <a:gd name="connsiteY37" fmla="*/ 2416247 h 241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687322" h="2419562">
                  <a:moveTo>
                    <a:pt x="588675" y="2416247"/>
                  </a:moveTo>
                  <a:cubicBezTo>
                    <a:pt x="587147" y="2414719"/>
                    <a:pt x="570800" y="2410831"/>
                    <a:pt x="552349" y="2407607"/>
                  </a:cubicBezTo>
                  <a:cubicBezTo>
                    <a:pt x="471623" y="2393501"/>
                    <a:pt x="438580" y="2386480"/>
                    <a:pt x="432846" y="2382216"/>
                  </a:cubicBezTo>
                  <a:cubicBezTo>
                    <a:pt x="429469" y="2379704"/>
                    <a:pt x="415655" y="2375661"/>
                    <a:pt x="402148" y="2373230"/>
                  </a:cubicBezTo>
                  <a:cubicBezTo>
                    <a:pt x="388640" y="2370800"/>
                    <a:pt x="374826" y="2366683"/>
                    <a:pt x="371449" y="2364083"/>
                  </a:cubicBezTo>
                  <a:cubicBezTo>
                    <a:pt x="368072" y="2361482"/>
                    <a:pt x="351496" y="2354281"/>
                    <a:pt x="334611" y="2348079"/>
                  </a:cubicBezTo>
                  <a:cubicBezTo>
                    <a:pt x="275433" y="2326342"/>
                    <a:pt x="151078" y="2255675"/>
                    <a:pt x="116716" y="2224255"/>
                  </a:cubicBezTo>
                  <a:cubicBezTo>
                    <a:pt x="108309" y="2216567"/>
                    <a:pt x="99413" y="2210278"/>
                    <a:pt x="96949" y="2210278"/>
                  </a:cubicBezTo>
                  <a:cubicBezTo>
                    <a:pt x="93130" y="2210278"/>
                    <a:pt x="49924" y="2172401"/>
                    <a:pt x="11157" y="2135067"/>
                  </a:cubicBezTo>
                  <a:cubicBezTo>
                    <a:pt x="459" y="2124765"/>
                    <a:pt x="0" y="2080998"/>
                    <a:pt x="0" y="1071873"/>
                  </a:cubicBezTo>
                  <a:cubicBezTo>
                    <a:pt x="0" y="493025"/>
                    <a:pt x="1677" y="15053"/>
                    <a:pt x="3727" y="9712"/>
                  </a:cubicBezTo>
                  <a:cubicBezTo>
                    <a:pt x="7061" y="1023"/>
                    <a:pt x="42156" y="0"/>
                    <a:pt x="336954" y="0"/>
                  </a:cubicBezTo>
                  <a:lnTo>
                    <a:pt x="666454" y="0"/>
                  </a:lnTo>
                  <a:lnTo>
                    <a:pt x="1068760" y="403683"/>
                  </a:lnTo>
                  <a:cubicBezTo>
                    <a:pt x="1390142" y="726165"/>
                    <a:pt x="1478711" y="818480"/>
                    <a:pt x="1509074" y="862622"/>
                  </a:cubicBezTo>
                  <a:cubicBezTo>
                    <a:pt x="1529979" y="893014"/>
                    <a:pt x="1549268" y="920642"/>
                    <a:pt x="1551939" y="924019"/>
                  </a:cubicBezTo>
                  <a:cubicBezTo>
                    <a:pt x="1561193" y="935720"/>
                    <a:pt x="1620870" y="1056980"/>
                    <a:pt x="1620908" y="1064159"/>
                  </a:cubicBezTo>
                  <a:cubicBezTo>
                    <a:pt x="1620908" y="1068125"/>
                    <a:pt x="1624514" y="1078278"/>
                    <a:pt x="1628876" y="1086720"/>
                  </a:cubicBezTo>
                  <a:cubicBezTo>
                    <a:pt x="1641276" y="1110722"/>
                    <a:pt x="1668400" y="1212809"/>
                    <a:pt x="1679444" y="1277049"/>
                  </a:cubicBezTo>
                  <a:cubicBezTo>
                    <a:pt x="1691949" y="1349779"/>
                    <a:pt x="1689077" y="1536523"/>
                    <a:pt x="1674299" y="1611661"/>
                  </a:cubicBezTo>
                  <a:cubicBezTo>
                    <a:pt x="1663076" y="1668728"/>
                    <a:pt x="1640658" y="1749790"/>
                    <a:pt x="1633587" y="1758877"/>
                  </a:cubicBezTo>
                  <a:cubicBezTo>
                    <a:pt x="1630900" y="1762328"/>
                    <a:pt x="1626870" y="1772823"/>
                    <a:pt x="1624629" y="1782197"/>
                  </a:cubicBezTo>
                  <a:cubicBezTo>
                    <a:pt x="1617765" y="1810917"/>
                    <a:pt x="1550069" y="1943296"/>
                    <a:pt x="1531058" y="1965175"/>
                  </a:cubicBezTo>
                  <a:cubicBezTo>
                    <a:pt x="1526426" y="1970506"/>
                    <a:pt x="1522636" y="1977494"/>
                    <a:pt x="1522636" y="1980703"/>
                  </a:cubicBezTo>
                  <a:cubicBezTo>
                    <a:pt x="1522636" y="1983913"/>
                    <a:pt x="1517110" y="1990522"/>
                    <a:pt x="1510356" y="1995389"/>
                  </a:cubicBezTo>
                  <a:cubicBezTo>
                    <a:pt x="1503603" y="2000257"/>
                    <a:pt x="1498077" y="2007314"/>
                    <a:pt x="1498077" y="2011071"/>
                  </a:cubicBezTo>
                  <a:cubicBezTo>
                    <a:pt x="1498077" y="2014828"/>
                    <a:pt x="1489865" y="2025960"/>
                    <a:pt x="1479829" y="2035809"/>
                  </a:cubicBezTo>
                  <a:cubicBezTo>
                    <a:pt x="1469792" y="2045658"/>
                    <a:pt x="1461503" y="2056025"/>
                    <a:pt x="1461410" y="2058846"/>
                  </a:cubicBezTo>
                  <a:cubicBezTo>
                    <a:pt x="1460972" y="2072016"/>
                    <a:pt x="1320319" y="2201853"/>
                    <a:pt x="1270760" y="2234837"/>
                  </a:cubicBezTo>
                  <a:cubicBezTo>
                    <a:pt x="1263149" y="2239902"/>
                    <a:pt x="1249687" y="2249572"/>
                    <a:pt x="1240844" y="2256325"/>
                  </a:cubicBezTo>
                  <a:cubicBezTo>
                    <a:pt x="1232000" y="2263079"/>
                    <a:pt x="1219261" y="2271937"/>
                    <a:pt x="1212534" y="2276010"/>
                  </a:cubicBezTo>
                  <a:cubicBezTo>
                    <a:pt x="1195841" y="2286118"/>
                    <a:pt x="1075032" y="2345572"/>
                    <a:pt x="1056022" y="2353036"/>
                  </a:cubicBezTo>
                  <a:cubicBezTo>
                    <a:pt x="1047579" y="2356351"/>
                    <a:pt x="1035777" y="2361564"/>
                    <a:pt x="1029793" y="2364622"/>
                  </a:cubicBezTo>
                  <a:cubicBezTo>
                    <a:pt x="1023810" y="2367679"/>
                    <a:pt x="1006543" y="2371876"/>
                    <a:pt x="991421" y="2373949"/>
                  </a:cubicBezTo>
                  <a:cubicBezTo>
                    <a:pt x="976299" y="2376022"/>
                    <a:pt x="963927" y="2379697"/>
                    <a:pt x="963927" y="2382115"/>
                  </a:cubicBezTo>
                  <a:cubicBezTo>
                    <a:pt x="963927" y="2384534"/>
                    <a:pt x="946659" y="2389626"/>
                    <a:pt x="925554" y="2393433"/>
                  </a:cubicBezTo>
                  <a:cubicBezTo>
                    <a:pt x="904449" y="2397238"/>
                    <a:pt x="865078" y="2404499"/>
                    <a:pt x="838064" y="2409568"/>
                  </a:cubicBezTo>
                  <a:cubicBezTo>
                    <a:pt x="792744" y="2418072"/>
                    <a:pt x="595775" y="2423347"/>
                    <a:pt x="588675" y="2416247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8038B52-ADA8-490A-8B6F-4AFEA6DC1E99}"/>
                </a:ext>
              </a:extLst>
            </p:cNvPr>
            <p:cNvSpPr/>
            <p:nvPr/>
          </p:nvSpPr>
          <p:spPr bwMode="ltGray">
            <a:xfrm>
              <a:off x="8388747" y="3531534"/>
              <a:ext cx="1942794" cy="1949094"/>
            </a:xfrm>
            <a:custGeom>
              <a:avLst/>
              <a:gdLst>
                <a:gd name="connsiteX0" fmla="*/ 973708 w 1957294"/>
                <a:gd name="connsiteY0" fmla="*/ 989463 h 1963641"/>
                <a:gd name="connsiteX1" fmla="*/ 0 w 1957294"/>
                <a:gd name="connsiteY1" fmla="*/ 7098 h 1963641"/>
                <a:gd name="connsiteX2" fmla="*/ 977741 w 1957294"/>
                <a:gd name="connsiteY2" fmla="*/ 467 h 1963641"/>
                <a:gd name="connsiteX3" fmla="*/ 1955482 w 1957294"/>
                <a:gd name="connsiteY3" fmla="*/ 2020 h 1963641"/>
                <a:gd name="connsiteX4" fmla="*/ 1957036 w 1957294"/>
                <a:gd name="connsiteY4" fmla="*/ 982831 h 1963641"/>
                <a:gd name="connsiteX5" fmla="*/ 1953003 w 1957294"/>
                <a:gd name="connsiteY5" fmla="*/ 1963642 h 1963641"/>
                <a:gd name="connsiteX6" fmla="*/ 973708 w 1957294"/>
                <a:gd name="connsiteY6" fmla="*/ 989463 h 196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7294" h="1963641">
                  <a:moveTo>
                    <a:pt x="973708" y="989463"/>
                  </a:moveTo>
                  <a:cubicBezTo>
                    <a:pt x="438169" y="453664"/>
                    <a:pt x="0" y="11601"/>
                    <a:pt x="0" y="7098"/>
                  </a:cubicBezTo>
                  <a:cubicBezTo>
                    <a:pt x="0" y="305"/>
                    <a:pt x="166301" y="-823"/>
                    <a:pt x="977741" y="467"/>
                  </a:cubicBezTo>
                  <a:lnTo>
                    <a:pt x="1955482" y="2020"/>
                  </a:lnTo>
                  <a:lnTo>
                    <a:pt x="1957036" y="982831"/>
                  </a:lnTo>
                  <a:cubicBezTo>
                    <a:pt x="1957964" y="1568967"/>
                    <a:pt x="1956341" y="1963642"/>
                    <a:pt x="1953003" y="1963642"/>
                  </a:cubicBezTo>
                  <a:cubicBezTo>
                    <a:pt x="1949931" y="1963642"/>
                    <a:pt x="1509248" y="1525261"/>
                    <a:pt x="973708" y="98946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AE93C7A-0AED-4658-932C-C0946D03722F}"/>
                </a:ext>
              </a:extLst>
            </p:cNvPr>
            <p:cNvSpPr/>
            <p:nvPr/>
          </p:nvSpPr>
          <p:spPr bwMode="ltGray">
            <a:xfrm>
              <a:off x="5920935" y="2339081"/>
              <a:ext cx="2184430" cy="2152033"/>
            </a:xfrm>
            <a:custGeom>
              <a:avLst/>
              <a:gdLst>
                <a:gd name="connsiteX0" fmla="*/ 957455 w 2200734"/>
                <a:gd name="connsiteY0" fmla="*/ 2163178 h 2168095"/>
                <a:gd name="connsiteX1" fmla="*/ 807034 w 2200734"/>
                <a:gd name="connsiteY1" fmla="*/ 2133636 h 2168095"/>
                <a:gd name="connsiteX2" fmla="*/ 774532 w 2200734"/>
                <a:gd name="connsiteY2" fmla="*/ 2125046 h 2168095"/>
                <a:gd name="connsiteX3" fmla="*/ 737694 w 2200734"/>
                <a:gd name="connsiteY3" fmla="*/ 2115622 h 2168095"/>
                <a:gd name="connsiteX4" fmla="*/ 681170 w 2200734"/>
                <a:gd name="connsiteY4" fmla="*/ 2093279 h 2168095"/>
                <a:gd name="connsiteX5" fmla="*/ 480516 w 2200734"/>
                <a:gd name="connsiteY5" fmla="*/ 1987559 h 2168095"/>
                <a:gd name="connsiteX6" fmla="*/ 415073 w 2200734"/>
                <a:gd name="connsiteY6" fmla="*/ 1945093 h 2168095"/>
                <a:gd name="connsiteX7" fmla="*/ 209732 w 2200734"/>
                <a:gd name="connsiteY7" fmla="*/ 1737519 h 2168095"/>
                <a:gd name="connsiteX8" fmla="*/ 188463 w 2200734"/>
                <a:gd name="connsiteY8" fmla="*/ 1708765 h 2168095"/>
                <a:gd name="connsiteX9" fmla="*/ 171579 w 2200734"/>
                <a:gd name="connsiteY9" fmla="*/ 1683294 h 2168095"/>
                <a:gd name="connsiteX10" fmla="*/ 151566 w 2200734"/>
                <a:gd name="connsiteY10" fmla="*/ 1650651 h 2168095"/>
                <a:gd name="connsiteX11" fmla="*/ 64945 w 2200734"/>
                <a:gd name="connsiteY11" fmla="*/ 1481800 h 2168095"/>
                <a:gd name="connsiteX12" fmla="*/ 54925 w 2200734"/>
                <a:gd name="connsiteY12" fmla="*/ 1443428 h 2168095"/>
                <a:gd name="connsiteX13" fmla="*/ 49064 w 2200734"/>
                <a:gd name="connsiteY13" fmla="*/ 1427471 h 2168095"/>
                <a:gd name="connsiteX14" fmla="*/ 39217 w 2200734"/>
                <a:gd name="connsiteY14" fmla="*/ 1404448 h 2168095"/>
                <a:gd name="connsiteX15" fmla="*/ 25793 w 2200734"/>
                <a:gd name="connsiteY15" fmla="*/ 1353795 h 2168095"/>
                <a:gd name="connsiteX16" fmla="*/ 26316 w 2200734"/>
                <a:gd name="connsiteY16" fmla="*/ 813505 h 2168095"/>
                <a:gd name="connsiteX17" fmla="*/ 36453 w 2200734"/>
                <a:gd name="connsiteY17" fmla="*/ 773598 h 2168095"/>
                <a:gd name="connsiteX18" fmla="*/ 45752 w 2200734"/>
                <a:gd name="connsiteY18" fmla="*/ 743732 h 2168095"/>
                <a:gd name="connsiteX19" fmla="*/ 54924 w 2200734"/>
                <a:gd name="connsiteY19" fmla="*/ 717032 h 2168095"/>
                <a:gd name="connsiteX20" fmla="*/ 143849 w 2200734"/>
                <a:gd name="connsiteY20" fmla="*/ 528437 h 2168095"/>
                <a:gd name="connsiteX21" fmla="*/ 161905 w 2200734"/>
                <a:gd name="connsiteY21" fmla="*/ 500270 h 2168095"/>
                <a:gd name="connsiteX22" fmla="*/ 177312 w 2200734"/>
                <a:gd name="connsiteY22" fmla="*/ 475824 h 2168095"/>
                <a:gd name="connsiteX23" fmla="*/ 197537 w 2200734"/>
                <a:gd name="connsiteY23" fmla="*/ 447080 h 2168095"/>
                <a:gd name="connsiteX24" fmla="*/ 285389 w 2200734"/>
                <a:gd name="connsiteY24" fmla="*/ 340208 h 2168095"/>
                <a:gd name="connsiteX25" fmla="*/ 438923 w 2200734"/>
                <a:gd name="connsiteY25" fmla="*/ 205995 h 2168095"/>
                <a:gd name="connsiteX26" fmla="*/ 472421 w 2200734"/>
                <a:gd name="connsiteY26" fmla="*/ 181128 h 2168095"/>
                <a:gd name="connsiteX27" fmla="*/ 545677 w 2200734"/>
                <a:gd name="connsiteY27" fmla="*/ 138143 h 2168095"/>
                <a:gd name="connsiteX28" fmla="*/ 553259 w 2200734"/>
                <a:gd name="connsiteY28" fmla="*/ 133538 h 2168095"/>
                <a:gd name="connsiteX29" fmla="*/ 688757 w 2200734"/>
                <a:gd name="connsiteY29" fmla="*/ 70606 h 2168095"/>
                <a:gd name="connsiteX30" fmla="*/ 702965 w 2200734"/>
                <a:gd name="connsiteY30" fmla="*/ 65041 h 2168095"/>
                <a:gd name="connsiteX31" fmla="*/ 837730 w 2200734"/>
                <a:gd name="connsiteY31" fmla="*/ 23628 h 2168095"/>
                <a:gd name="connsiteX32" fmla="*/ 1592909 w 2200734"/>
                <a:gd name="connsiteY32" fmla="*/ 112 h 2168095"/>
                <a:gd name="connsiteX33" fmla="*/ 2200735 w 2200734"/>
                <a:gd name="connsiteY33" fmla="*/ 0 h 2168095"/>
                <a:gd name="connsiteX34" fmla="*/ 2200735 w 2200734"/>
                <a:gd name="connsiteY34" fmla="*/ 1083650 h 2168095"/>
                <a:gd name="connsiteX35" fmla="*/ 2200735 w 2200734"/>
                <a:gd name="connsiteY35" fmla="*/ 2167300 h 2168095"/>
                <a:gd name="connsiteX36" fmla="*/ 1595978 w 2200734"/>
                <a:gd name="connsiteY36" fmla="*/ 2168044 h 2168095"/>
                <a:gd name="connsiteX37" fmla="*/ 957454 w 2200734"/>
                <a:gd name="connsiteY37" fmla="*/ 2163178 h 216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00734" h="2168095">
                  <a:moveTo>
                    <a:pt x="957455" y="2163178"/>
                  </a:moveTo>
                  <a:cubicBezTo>
                    <a:pt x="857851" y="2146632"/>
                    <a:pt x="812541" y="2137733"/>
                    <a:pt x="807034" y="2133636"/>
                  </a:cubicBezTo>
                  <a:cubicBezTo>
                    <a:pt x="803656" y="2131124"/>
                    <a:pt x="789031" y="2127258"/>
                    <a:pt x="774532" y="2125046"/>
                  </a:cubicBezTo>
                  <a:cubicBezTo>
                    <a:pt x="760033" y="2122832"/>
                    <a:pt x="743456" y="2118592"/>
                    <a:pt x="737694" y="2115622"/>
                  </a:cubicBezTo>
                  <a:cubicBezTo>
                    <a:pt x="731932" y="2112652"/>
                    <a:pt x="706497" y="2102598"/>
                    <a:pt x="681170" y="2093279"/>
                  </a:cubicBezTo>
                  <a:cubicBezTo>
                    <a:pt x="621153" y="2071197"/>
                    <a:pt x="545573" y="2031375"/>
                    <a:pt x="480516" y="1987559"/>
                  </a:cubicBezTo>
                  <a:cubicBezTo>
                    <a:pt x="451814" y="1968228"/>
                    <a:pt x="422365" y="1949119"/>
                    <a:pt x="415073" y="1945093"/>
                  </a:cubicBezTo>
                  <a:cubicBezTo>
                    <a:pt x="387548" y="1929898"/>
                    <a:pt x="242079" y="1782847"/>
                    <a:pt x="209732" y="1737519"/>
                  </a:cubicBezTo>
                  <a:cubicBezTo>
                    <a:pt x="207320" y="1734139"/>
                    <a:pt x="197749" y="1721200"/>
                    <a:pt x="188463" y="1708765"/>
                  </a:cubicBezTo>
                  <a:cubicBezTo>
                    <a:pt x="179176" y="1696330"/>
                    <a:pt x="171579" y="1684868"/>
                    <a:pt x="171579" y="1683294"/>
                  </a:cubicBezTo>
                  <a:cubicBezTo>
                    <a:pt x="171579" y="1681719"/>
                    <a:pt x="162573" y="1667030"/>
                    <a:pt x="151566" y="1650651"/>
                  </a:cubicBezTo>
                  <a:cubicBezTo>
                    <a:pt x="133805" y="1624222"/>
                    <a:pt x="93391" y="1545442"/>
                    <a:pt x="64945" y="1481800"/>
                  </a:cubicBezTo>
                  <a:cubicBezTo>
                    <a:pt x="59434" y="1469471"/>
                    <a:pt x="54925" y="1452203"/>
                    <a:pt x="54925" y="1443428"/>
                  </a:cubicBezTo>
                  <a:cubicBezTo>
                    <a:pt x="54925" y="1434652"/>
                    <a:pt x="52288" y="1427471"/>
                    <a:pt x="49064" y="1427471"/>
                  </a:cubicBezTo>
                  <a:cubicBezTo>
                    <a:pt x="45840" y="1427471"/>
                    <a:pt x="41408" y="1417111"/>
                    <a:pt x="39217" y="1404448"/>
                  </a:cubicBezTo>
                  <a:cubicBezTo>
                    <a:pt x="37025" y="1391785"/>
                    <a:pt x="30984" y="1368991"/>
                    <a:pt x="25793" y="1353795"/>
                  </a:cubicBezTo>
                  <a:cubicBezTo>
                    <a:pt x="-8850" y="1252383"/>
                    <a:pt x="-8517" y="909645"/>
                    <a:pt x="26316" y="813505"/>
                  </a:cubicBezTo>
                  <a:cubicBezTo>
                    <a:pt x="31821" y="798310"/>
                    <a:pt x="36383" y="780351"/>
                    <a:pt x="36453" y="773598"/>
                  </a:cubicBezTo>
                  <a:cubicBezTo>
                    <a:pt x="36520" y="766844"/>
                    <a:pt x="40708" y="753405"/>
                    <a:pt x="45752" y="743732"/>
                  </a:cubicBezTo>
                  <a:cubicBezTo>
                    <a:pt x="50796" y="734060"/>
                    <a:pt x="54924" y="722045"/>
                    <a:pt x="54924" y="717032"/>
                  </a:cubicBezTo>
                  <a:cubicBezTo>
                    <a:pt x="54924" y="702170"/>
                    <a:pt x="129455" y="544102"/>
                    <a:pt x="143849" y="528437"/>
                  </a:cubicBezTo>
                  <a:cubicBezTo>
                    <a:pt x="147280" y="524702"/>
                    <a:pt x="155406" y="512027"/>
                    <a:pt x="161905" y="500270"/>
                  </a:cubicBezTo>
                  <a:cubicBezTo>
                    <a:pt x="168405" y="488513"/>
                    <a:pt x="175337" y="477513"/>
                    <a:pt x="177312" y="475824"/>
                  </a:cubicBezTo>
                  <a:cubicBezTo>
                    <a:pt x="179286" y="474135"/>
                    <a:pt x="188388" y="461201"/>
                    <a:pt x="197537" y="447080"/>
                  </a:cubicBezTo>
                  <a:cubicBezTo>
                    <a:pt x="212681" y="423710"/>
                    <a:pt x="232326" y="399812"/>
                    <a:pt x="285389" y="340208"/>
                  </a:cubicBezTo>
                  <a:cubicBezTo>
                    <a:pt x="322750" y="298242"/>
                    <a:pt x="386726" y="242317"/>
                    <a:pt x="438923" y="205995"/>
                  </a:cubicBezTo>
                  <a:cubicBezTo>
                    <a:pt x="455658" y="194350"/>
                    <a:pt x="470732" y="183160"/>
                    <a:pt x="472421" y="181128"/>
                  </a:cubicBezTo>
                  <a:cubicBezTo>
                    <a:pt x="477865" y="174577"/>
                    <a:pt x="539956" y="138143"/>
                    <a:pt x="545677" y="138143"/>
                  </a:cubicBezTo>
                  <a:cubicBezTo>
                    <a:pt x="548721" y="138143"/>
                    <a:pt x="552133" y="136071"/>
                    <a:pt x="553259" y="133538"/>
                  </a:cubicBezTo>
                  <a:cubicBezTo>
                    <a:pt x="556758" y="125665"/>
                    <a:pt x="675306" y="70606"/>
                    <a:pt x="688757" y="70606"/>
                  </a:cubicBezTo>
                  <a:cubicBezTo>
                    <a:pt x="693363" y="70606"/>
                    <a:pt x="699757" y="68102"/>
                    <a:pt x="702965" y="65041"/>
                  </a:cubicBezTo>
                  <a:cubicBezTo>
                    <a:pt x="711083" y="57295"/>
                    <a:pt x="786205" y="34211"/>
                    <a:pt x="837730" y="23628"/>
                  </a:cubicBezTo>
                  <a:cubicBezTo>
                    <a:pt x="947243" y="1137"/>
                    <a:pt x="976476" y="226"/>
                    <a:pt x="1592909" y="112"/>
                  </a:cubicBezTo>
                  <a:lnTo>
                    <a:pt x="2200735" y="0"/>
                  </a:lnTo>
                  <a:lnTo>
                    <a:pt x="2200735" y="1083650"/>
                  </a:lnTo>
                  <a:lnTo>
                    <a:pt x="2200735" y="2167300"/>
                  </a:lnTo>
                  <a:lnTo>
                    <a:pt x="1595978" y="2168044"/>
                  </a:lnTo>
                  <a:cubicBezTo>
                    <a:pt x="1255652" y="2168462"/>
                    <a:pt x="976457" y="2166334"/>
                    <a:pt x="957454" y="2163178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A7B5FB1-0B25-4D0F-B929-F3D47D38A838}"/>
                </a:ext>
              </a:extLst>
            </p:cNvPr>
            <p:cNvSpPr/>
            <p:nvPr/>
          </p:nvSpPr>
          <p:spPr bwMode="ltGray">
            <a:xfrm>
              <a:off x="8382685" y="1421907"/>
              <a:ext cx="1950103" cy="1952130"/>
            </a:xfrm>
            <a:custGeom>
              <a:avLst/>
              <a:gdLst>
                <a:gd name="connsiteX0" fmla="*/ 2525 w 1964658"/>
                <a:gd name="connsiteY0" fmla="*/ 1965203 h 1966700"/>
                <a:gd name="connsiteX1" fmla="*/ 0 w 1964658"/>
                <a:gd name="connsiteY1" fmla="*/ 1952923 h 1966700"/>
                <a:gd name="connsiteX2" fmla="*/ 1954086 w 1964658"/>
                <a:gd name="connsiteY2" fmla="*/ 0 h 1966700"/>
                <a:gd name="connsiteX3" fmla="*/ 1964659 w 1964658"/>
                <a:gd name="connsiteY3" fmla="*/ 979468 h 1966700"/>
                <a:gd name="connsiteX4" fmla="*/ 1956984 w 1964658"/>
                <a:gd name="connsiteY4" fmla="*/ 1961805 h 1966700"/>
                <a:gd name="connsiteX5" fmla="*/ 2525 w 1964658"/>
                <a:gd name="connsiteY5" fmla="*/ 1965203 h 19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4658" h="1966700">
                  <a:moveTo>
                    <a:pt x="2525" y="1965203"/>
                  </a:moveTo>
                  <a:cubicBezTo>
                    <a:pt x="1118" y="1963796"/>
                    <a:pt x="-19" y="1958270"/>
                    <a:pt x="0" y="1952923"/>
                  </a:cubicBezTo>
                  <a:cubicBezTo>
                    <a:pt x="62" y="1939618"/>
                    <a:pt x="1940818" y="0"/>
                    <a:pt x="1954086" y="0"/>
                  </a:cubicBezTo>
                  <a:cubicBezTo>
                    <a:pt x="1964046" y="0"/>
                    <a:pt x="1964659" y="56784"/>
                    <a:pt x="1964659" y="979468"/>
                  </a:cubicBezTo>
                  <a:cubicBezTo>
                    <a:pt x="1964659" y="1757420"/>
                    <a:pt x="1963080" y="1959527"/>
                    <a:pt x="1956984" y="1961805"/>
                  </a:cubicBezTo>
                  <a:cubicBezTo>
                    <a:pt x="1947464" y="1965364"/>
                    <a:pt x="6060" y="1968739"/>
                    <a:pt x="2525" y="196520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E47632C-6699-4AE7-93D3-B547EC574995}"/>
                </a:ext>
              </a:extLst>
            </p:cNvPr>
            <p:cNvSpPr/>
            <p:nvPr/>
          </p:nvSpPr>
          <p:spPr bwMode="ltGray">
            <a:xfrm>
              <a:off x="10479049" y="925306"/>
              <a:ext cx="1712951" cy="2451368"/>
            </a:xfrm>
            <a:custGeom>
              <a:avLst/>
              <a:gdLst>
                <a:gd name="connsiteX0" fmla="*/ 328799 w 1725736"/>
                <a:gd name="connsiteY0" fmla="*/ 2466535 h 2469664"/>
                <a:gd name="connsiteX1" fmla="*/ 5026 w 1725736"/>
                <a:gd name="connsiteY1" fmla="*/ 2457270 h 2469664"/>
                <a:gd name="connsiteX2" fmla="*/ 94 w 1725736"/>
                <a:gd name="connsiteY2" fmla="*/ 1391036 h 2469664"/>
                <a:gd name="connsiteX3" fmla="*/ 0 w 1725736"/>
                <a:gd name="connsiteY3" fmla="*/ 332421 h 2469664"/>
                <a:gd name="connsiteX4" fmla="*/ 41443 w 1725736"/>
                <a:gd name="connsiteY4" fmla="*/ 291932 h 2469664"/>
                <a:gd name="connsiteX5" fmla="*/ 183623 w 1725736"/>
                <a:gd name="connsiteY5" fmla="*/ 174907 h 2469664"/>
                <a:gd name="connsiteX6" fmla="*/ 190329 w 1725736"/>
                <a:gd name="connsiteY6" fmla="*/ 170091 h 2469664"/>
                <a:gd name="connsiteX7" fmla="*/ 210283 w 1725736"/>
                <a:gd name="connsiteY7" fmla="*/ 153669 h 2469664"/>
                <a:gd name="connsiteX8" fmla="*/ 233307 w 1725736"/>
                <a:gd name="connsiteY8" fmla="*/ 138262 h 2469664"/>
                <a:gd name="connsiteX9" fmla="*/ 310053 w 1725736"/>
                <a:gd name="connsiteY9" fmla="*/ 99088 h 2469664"/>
                <a:gd name="connsiteX10" fmla="*/ 393717 w 1725736"/>
                <a:gd name="connsiteY10" fmla="*/ 58334 h 2469664"/>
                <a:gd name="connsiteX11" fmla="*/ 427485 w 1725736"/>
                <a:gd name="connsiteY11" fmla="*/ 48663 h 2469664"/>
                <a:gd name="connsiteX12" fmla="*/ 457405 w 1725736"/>
                <a:gd name="connsiteY12" fmla="*/ 39578 h 2469664"/>
                <a:gd name="connsiteX13" fmla="*/ 494243 w 1725736"/>
                <a:gd name="connsiteY13" fmla="*/ 28698 h 2469664"/>
                <a:gd name="connsiteX14" fmla="*/ 561779 w 1725736"/>
                <a:gd name="connsiteY14" fmla="*/ 11887 h 2469664"/>
                <a:gd name="connsiteX15" fmla="*/ 924019 w 1725736"/>
                <a:gd name="connsiteY15" fmla="*/ 11795 h 2469664"/>
                <a:gd name="connsiteX16" fmla="*/ 991555 w 1725736"/>
                <a:gd name="connsiteY16" fmla="*/ 28698 h 2469664"/>
                <a:gd name="connsiteX17" fmla="*/ 1028393 w 1725736"/>
                <a:gd name="connsiteY17" fmla="*/ 39514 h 2469664"/>
                <a:gd name="connsiteX18" fmla="*/ 1055862 w 1725736"/>
                <a:gd name="connsiteY18" fmla="*/ 48302 h 2469664"/>
                <a:gd name="connsiteX19" fmla="*/ 1293897 w 1725736"/>
                <a:gd name="connsiteY19" fmla="*/ 166882 h 2469664"/>
                <a:gd name="connsiteX20" fmla="*/ 1476588 w 1725736"/>
                <a:gd name="connsiteY20" fmla="*/ 325702 h 2469664"/>
                <a:gd name="connsiteX21" fmla="*/ 1517902 w 1725736"/>
                <a:gd name="connsiteY21" fmla="*/ 374036 h 2469664"/>
                <a:gd name="connsiteX22" fmla="*/ 1544410 w 1725736"/>
                <a:gd name="connsiteY22" fmla="*/ 409749 h 2469664"/>
                <a:gd name="connsiteX23" fmla="*/ 1553748 w 1725736"/>
                <a:gd name="connsiteY23" fmla="*/ 420493 h 2469664"/>
                <a:gd name="connsiteX24" fmla="*/ 1559474 w 1725736"/>
                <a:gd name="connsiteY24" fmla="*/ 425933 h 2469664"/>
                <a:gd name="connsiteX25" fmla="*/ 1584032 w 1725736"/>
                <a:gd name="connsiteY25" fmla="*/ 468150 h 2469664"/>
                <a:gd name="connsiteX26" fmla="*/ 1608591 w 1725736"/>
                <a:gd name="connsiteY26" fmla="*/ 511827 h 2469664"/>
                <a:gd name="connsiteX27" fmla="*/ 1614731 w 1725736"/>
                <a:gd name="connsiteY27" fmla="*/ 518728 h 2469664"/>
                <a:gd name="connsiteX28" fmla="*/ 1620870 w 1725736"/>
                <a:gd name="connsiteY28" fmla="*/ 524258 h 2469664"/>
                <a:gd name="connsiteX29" fmla="*/ 1644508 w 1725736"/>
                <a:gd name="connsiteY29" fmla="*/ 581050 h 2469664"/>
                <a:gd name="connsiteX30" fmla="*/ 1679115 w 1725736"/>
                <a:gd name="connsiteY30" fmla="*/ 666080 h 2469664"/>
                <a:gd name="connsiteX31" fmla="*/ 1695552 w 1725736"/>
                <a:gd name="connsiteY31" fmla="*/ 712127 h 2469664"/>
                <a:gd name="connsiteX32" fmla="*/ 1706662 w 1725736"/>
                <a:gd name="connsiteY32" fmla="*/ 755105 h 2469664"/>
                <a:gd name="connsiteX33" fmla="*/ 1719063 w 1725736"/>
                <a:gd name="connsiteY33" fmla="*/ 816501 h 2469664"/>
                <a:gd name="connsiteX34" fmla="*/ 1719002 w 1725736"/>
                <a:gd name="connsiteY34" fmla="*/ 1154183 h 2469664"/>
                <a:gd name="connsiteX35" fmla="*/ 1706792 w 1725736"/>
                <a:gd name="connsiteY35" fmla="*/ 1212509 h 2469664"/>
                <a:gd name="connsiteX36" fmla="*/ 1677162 w 1725736"/>
                <a:gd name="connsiteY36" fmla="*/ 1312679 h 2469664"/>
                <a:gd name="connsiteX37" fmla="*/ 1669968 w 1725736"/>
                <a:gd name="connsiteY37" fmla="*/ 1335122 h 2469664"/>
                <a:gd name="connsiteX38" fmla="*/ 1658561 w 1725736"/>
                <a:gd name="connsiteY38" fmla="*/ 1363886 h 2469664"/>
                <a:gd name="connsiteX39" fmla="*/ 1591776 w 1725736"/>
                <a:gd name="connsiteY39" fmla="*/ 1493411 h 2469664"/>
                <a:gd name="connsiteX40" fmla="*/ 1577873 w 1725736"/>
                <a:gd name="connsiteY40" fmla="*/ 1519254 h 2469664"/>
                <a:gd name="connsiteX41" fmla="*/ 1573268 w 1725736"/>
                <a:gd name="connsiteY41" fmla="*/ 1526655 h 2469664"/>
                <a:gd name="connsiteX42" fmla="*/ 1547524 w 1725736"/>
                <a:gd name="connsiteY42" fmla="*/ 1559400 h 2469664"/>
                <a:gd name="connsiteX43" fmla="*/ 1512221 w 1725736"/>
                <a:gd name="connsiteY43" fmla="*/ 1603619 h 2469664"/>
                <a:gd name="connsiteX44" fmla="*/ 1498057 w 1725736"/>
                <a:gd name="connsiteY44" fmla="*/ 1622099 h 2469664"/>
                <a:gd name="connsiteX45" fmla="*/ 650680 w 1725736"/>
                <a:gd name="connsiteY45" fmla="*/ 2469661 h 2469664"/>
                <a:gd name="connsiteX46" fmla="*/ 328780 w 1725736"/>
                <a:gd name="connsiteY46" fmla="*/ 2466536 h 246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725736" h="2469664">
                  <a:moveTo>
                    <a:pt x="328799" y="2466535"/>
                  </a:moveTo>
                  <a:cubicBezTo>
                    <a:pt x="83066" y="2465266"/>
                    <a:pt x="8755" y="2463140"/>
                    <a:pt x="5026" y="2457270"/>
                  </a:cubicBezTo>
                  <a:cubicBezTo>
                    <a:pt x="2365" y="2453079"/>
                    <a:pt x="145" y="1973274"/>
                    <a:pt x="94" y="1391036"/>
                  </a:cubicBezTo>
                  <a:lnTo>
                    <a:pt x="0" y="332421"/>
                  </a:lnTo>
                  <a:lnTo>
                    <a:pt x="41443" y="291932"/>
                  </a:lnTo>
                  <a:cubicBezTo>
                    <a:pt x="102158" y="232614"/>
                    <a:pt x="172270" y="174907"/>
                    <a:pt x="183623" y="174907"/>
                  </a:cubicBezTo>
                  <a:cubicBezTo>
                    <a:pt x="187312" y="174907"/>
                    <a:pt x="190329" y="172740"/>
                    <a:pt x="190329" y="170091"/>
                  </a:cubicBezTo>
                  <a:cubicBezTo>
                    <a:pt x="190329" y="167442"/>
                    <a:pt x="199308" y="160052"/>
                    <a:pt x="210283" y="153669"/>
                  </a:cubicBezTo>
                  <a:cubicBezTo>
                    <a:pt x="221258" y="147286"/>
                    <a:pt x="231619" y="140353"/>
                    <a:pt x="233307" y="138262"/>
                  </a:cubicBezTo>
                  <a:cubicBezTo>
                    <a:pt x="234995" y="136172"/>
                    <a:pt x="269531" y="118543"/>
                    <a:pt x="310053" y="99088"/>
                  </a:cubicBezTo>
                  <a:cubicBezTo>
                    <a:pt x="350574" y="79632"/>
                    <a:pt x="388224" y="61293"/>
                    <a:pt x="393717" y="58334"/>
                  </a:cubicBezTo>
                  <a:cubicBezTo>
                    <a:pt x="399211" y="55375"/>
                    <a:pt x="414406" y="51023"/>
                    <a:pt x="427485" y="48663"/>
                  </a:cubicBezTo>
                  <a:cubicBezTo>
                    <a:pt x="440564" y="46304"/>
                    <a:pt x="454028" y="42215"/>
                    <a:pt x="457405" y="39578"/>
                  </a:cubicBezTo>
                  <a:cubicBezTo>
                    <a:pt x="460781" y="36940"/>
                    <a:pt x="477359" y="32044"/>
                    <a:pt x="494243" y="28698"/>
                  </a:cubicBezTo>
                  <a:cubicBezTo>
                    <a:pt x="511127" y="25352"/>
                    <a:pt x="541518" y="17787"/>
                    <a:pt x="561779" y="11887"/>
                  </a:cubicBezTo>
                  <a:cubicBezTo>
                    <a:pt x="616048" y="-3915"/>
                    <a:pt x="870305" y="-3979"/>
                    <a:pt x="924019" y="11795"/>
                  </a:cubicBezTo>
                  <a:cubicBezTo>
                    <a:pt x="944280" y="17745"/>
                    <a:pt x="974671" y="25352"/>
                    <a:pt x="991555" y="28698"/>
                  </a:cubicBezTo>
                  <a:cubicBezTo>
                    <a:pt x="1008439" y="32044"/>
                    <a:pt x="1025016" y="36912"/>
                    <a:pt x="1028393" y="39514"/>
                  </a:cubicBezTo>
                  <a:cubicBezTo>
                    <a:pt x="1031770" y="42117"/>
                    <a:pt x="1044131" y="46071"/>
                    <a:pt x="1055862" y="48302"/>
                  </a:cubicBezTo>
                  <a:cubicBezTo>
                    <a:pt x="1098148" y="56341"/>
                    <a:pt x="1219085" y="116588"/>
                    <a:pt x="1293897" y="166882"/>
                  </a:cubicBezTo>
                  <a:cubicBezTo>
                    <a:pt x="1351409" y="205546"/>
                    <a:pt x="1448196" y="289686"/>
                    <a:pt x="1476588" y="325702"/>
                  </a:cubicBezTo>
                  <a:cubicBezTo>
                    <a:pt x="1486719" y="338553"/>
                    <a:pt x="1505310" y="360303"/>
                    <a:pt x="1517902" y="374036"/>
                  </a:cubicBezTo>
                  <a:cubicBezTo>
                    <a:pt x="1530494" y="387769"/>
                    <a:pt x="1542423" y="403839"/>
                    <a:pt x="1544410" y="409749"/>
                  </a:cubicBezTo>
                  <a:cubicBezTo>
                    <a:pt x="1546396" y="415658"/>
                    <a:pt x="1550599" y="420493"/>
                    <a:pt x="1553748" y="420493"/>
                  </a:cubicBezTo>
                  <a:cubicBezTo>
                    <a:pt x="1556897" y="420493"/>
                    <a:pt x="1559474" y="422941"/>
                    <a:pt x="1559474" y="425933"/>
                  </a:cubicBezTo>
                  <a:cubicBezTo>
                    <a:pt x="1559474" y="428925"/>
                    <a:pt x="1570525" y="447923"/>
                    <a:pt x="1584032" y="468150"/>
                  </a:cubicBezTo>
                  <a:cubicBezTo>
                    <a:pt x="1597539" y="488377"/>
                    <a:pt x="1608591" y="508032"/>
                    <a:pt x="1608591" y="511827"/>
                  </a:cubicBezTo>
                  <a:cubicBezTo>
                    <a:pt x="1608591" y="515623"/>
                    <a:pt x="1611354" y="518728"/>
                    <a:pt x="1614731" y="518728"/>
                  </a:cubicBezTo>
                  <a:cubicBezTo>
                    <a:pt x="1618107" y="518728"/>
                    <a:pt x="1620870" y="521216"/>
                    <a:pt x="1620870" y="524258"/>
                  </a:cubicBezTo>
                  <a:cubicBezTo>
                    <a:pt x="1620870" y="527299"/>
                    <a:pt x="1631507" y="552856"/>
                    <a:pt x="1644508" y="581050"/>
                  </a:cubicBezTo>
                  <a:cubicBezTo>
                    <a:pt x="1657509" y="609244"/>
                    <a:pt x="1673082" y="647507"/>
                    <a:pt x="1679115" y="666080"/>
                  </a:cubicBezTo>
                  <a:cubicBezTo>
                    <a:pt x="1685148" y="684652"/>
                    <a:pt x="1692545" y="705373"/>
                    <a:pt x="1695552" y="712127"/>
                  </a:cubicBezTo>
                  <a:cubicBezTo>
                    <a:pt x="1698559" y="718881"/>
                    <a:pt x="1703558" y="738221"/>
                    <a:pt x="1706662" y="755105"/>
                  </a:cubicBezTo>
                  <a:cubicBezTo>
                    <a:pt x="1709765" y="771989"/>
                    <a:pt x="1715345" y="799617"/>
                    <a:pt x="1719063" y="816501"/>
                  </a:cubicBezTo>
                  <a:cubicBezTo>
                    <a:pt x="1727988" y="857032"/>
                    <a:pt x="1727956" y="1114223"/>
                    <a:pt x="1719002" y="1154183"/>
                  </a:cubicBezTo>
                  <a:cubicBezTo>
                    <a:pt x="1715226" y="1171067"/>
                    <a:pt x="1709732" y="1197314"/>
                    <a:pt x="1706792" y="1212509"/>
                  </a:cubicBezTo>
                  <a:cubicBezTo>
                    <a:pt x="1700827" y="1243344"/>
                    <a:pt x="1688065" y="1286488"/>
                    <a:pt x="1677162" y="1312679"/>
                  </a:cubicBezTo>
                  <a:cubicBezTo>
                    <a:pt x="1673205" y="1322185"/>
                    <a:pt x="1669968" y="1332284"/>
                    <a:pt x="1669968" y="1335122"/>
                  </a:cubicBezTo>
                  <a:cubicBezTo>
                    <a:pt x="1669968" y="1337960"/>
                    <a:pt x="1664834" y="1350904"/>
                    <a:pt x="1658561" y="1363886"/>
                  </a:cubicBezTo>
                  <a:cubicBezTo>
                    <a:pt x="1614260" y="1455556"/>
                    <a:pt x="1604122" y="1475217"/>
                    <a:pt x="1591776" y="1493411"/>
                  </a:cubicBezTo>
                  <a:cubicBezTo>
                    <a:pt x="1584129" y="1504679"/>
                    <a:pt x="1577873" y="1516308"/>
                    <a:pt x="1577873" y="1519254"/>
                  </a:cubicBezTo>
                  <a:cubicBezTo>
                    <a:pt x="1577873" y="1522199"/>
                    <a:pt x="1575801" y="1525530"/>
                    <a:pt x="1573268" y="1526655"/>
                  </a:cubicBezTo>
                  <a:cubicBezTo>
                    <a:pt x="1570736" y="1527781"/>
                    <a:pt x="1559151" y="1542516"/>
                    <a:pt x="1547524" y="1559400"/>
                  </a:cubicBezTo>
                  <a:cubicBezTo>
                    <a:pt x="1535897" y="1576284"/>
                    <a:pt x="1520011" y="1596183"/>
                    <a:pt x="1512221" y="1603619"/>
                  </a:cubicBezTo>
                  <a:cubicBezTo>
                    <a:pt x="1504431" y="1611056"/>
                    <a:pt x="1498057" y="1619372"/>
                    <a:pt x="1498057" y="1622099"/>
                  </a:cubicBezTo>
                  <a:cubicBezTo>
                    <a:pt x="1498057" y="1628246"/>
                    <a:pt x="654781" y="2471706"/>
                    <a:pt x="650680" y="2469661"/>
                  </a:cubicBezTo>
                  <a:cubicBezTo>
                    <a:pt x="649049" y="2468848"/>
                    <a:pt x="504194" y="2467441"/>
                    <a:pt x="328780" y="2466536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19D471C-8C87-42DA-B7E6-0F02BE93A9D2}"/>
                </a:ext>
              </a:extLst>
            </p:cNvPr>
            <p:cNvSpPr/>
            <p:nvPr/>
          </p:nvSpPr>
          <p:spPr bwMode="ltGray">
            <a:xfrm>
              <a:off x="8223342" y="25805"/>
              <a:ext cx="2152512" cy="3260920"/>
            </a:xfrm>
            <a:custGeom>
              <a:avLst/>
              <a:gdLst>
                <a:gd name="connsiteX0" fmla="*/ 837 w 2168578"/>
                <a:gd name="connsiteY0" fmla="*/ 3280654 h 3285258"/>
                <a:gd name="connsiteX1" fmla="*/ 7833 w 2168578"/>
                <a:gd name="connsiteY1" fmla="*/ 915350 h 3285258"/>
                <a:gd name="connsiteX2" fmla="*/ 17238 w 2168578"/>
                <a:gd name="connsiteY2" fmla="*/ 853954 h 3285258"/>
                <a:gd name="connsiteX3" fmla="*/ 25537 w 2168578"/>
                <a:gd name="connsiteY3" fmla="*/ 820185 h 3285258"/>
                <a:gd name="connsiteX4" fmla="*/ 34763 w 2168578"/>
                <a:gd name="connsiteY4" fmla="*/ 789487 h 3285258"/>
                <a:gd name="connsiteX5" fmla="*/ 74447 w 2168578"/>
                <a:gd name="connsiteY5" fmla="*/ 666694 h 3285258"/>
                <a:gd name="connsiteX6" fmla="*/ 83025 w 2168578"/>
                <a:gd name="connsiteY6" fmla="*/ 643670 h 3285258"/>
                <a:gd name="connsiteX7" fmla="*/ 93080 w 2168578"/>
                <a:gd name="connsiteY7" fmla="*/ 626786 h 3285258"/>
                <a:gd name="connsiteX8" fmla="*/ 99103 w 2168578"/>
                <a:gd name="connsiteY8" fmla="*/ 614068 h 3285258"/>
                <a:gd name="connsiteX9" fmla="*/ 108312 w 2168578"/>
                <a:gd name="connsiteY9" fmla="*/ 592141 h 3285258"/>
                <a:gd name="connsiteX10" fmla="*/ 117522 w 2168578"/>
                <a:gd name="connsiteY10" fmla="*/ 571091 h 3285258"/>
                <a:gd name="connsiteX11" fmla="*/ 123248 w 2168578"/>
                <a:gd name="connsiteY11" fmla="*/ 559250 h 3285258"/>
                <a:gd name="connsiteX12" fmla="*/ 133333 w 2168578"/>
                <a:gd name="connsiteY12" fmla="*/ 545516 h 3285258"/>
                <a:gd name="connsiteX13" fmla="*/ 174314 w 2168578"/>
                <a:gd name="connsiteY13" fmla="*/ 480458 h 3285258"/>
                <a:gd name="connsiteX14" fmla="*/ 178919 w 2168578"/>
                <a:gd name="connsiteY14" fmla="*/ 472456 h 3285258"/>
                <a:gd name="connsiteX15" fmla="*/ 317979 w 2168578"/>
                <a:gd name="connsiteY15" fmla="*/ 304189 h 3285258"/>
                <a:gd name="connsiteX16" fmla="*/ 533599 w 2168578"/>
                <a:gd name="connsiteY16" fmla="*/ 134256 h 3285258"/>
                <a:gd name="connsiteX17" fmla="*/ 702024 w 2168578"/>
                <a:gd name="connsiteY17" fmla="*/ 55798 h 3285258"/>
                <a:gd name="connsiteX18" fmla="*/ 716446 w 2168578"/>
                <a:gd name="connsiteY18" fmla="*/ 50279 h 3285258"/>
                <a:gd name="connsiteX19" fmla="*/ 866561 w 2168578"/>
                <a:gd name="connsiteY19" fmla="*/ 9441 h 3285258"/>
                <a:gd name="connsiteX20" fmla="*/ 1354663 w 2168578"/>
                <a:gd name="connsiteY20" fmla="*/ 19350 h 3285258"/>
                <a:gd name="connsiteX21" fmla="*/ 1403781 w 2168578"/>
                <a:gd name="connsiteY21" fmla="*/ 34752 h 3285258"/>
                <a:gd name="connsiteX22" fmla="*/ 1446451 w 2168578"/>
                <a:gd name="connsiteY22" fmla="*/ 50338 h 3285258"/>
                <a:gd name="connsiteX23" fmla="*/ 1463923 w 2168578"/>
                <a:gd name="connsiteY23" fmla="*/ 55798 h 3285258"/>
                <a:gd name="connsiteX24" fmla="*/ 1491859 w 2168578"/>
                <a:gd name="connsiteY24" fmla="*/ 64209 h 3285258"/>
                <a:gd name="connsiteX25" fmla="*/ 1568544 w 2168578"/>
                <a:gd name="connsiteY25" fmla="*/ 102582 h 3285258"/>
                <a:gd name="connsiteX26" fmla="*/ 1652437 w 2168578"/>
                <a:gd name="connsiteY26" fmla="*/ 149349 h 3285258"/>
                <a:gd name="connsiteX27" fmla="*/ 1658398 w 2168578"/>
                <a:gd name="connsiteY27" fmla="*/ 154032 h 3285258"/>
                <a:gd name="connsiteX28" fmla="*/ 1726113 w 2168578"/>
                <a:gd name="connsiteY28" fmla="*/ 197296 h 3285258"/>
                <a:gd name="connsiteX29" fmla="*/ 1766021 w 2168578"/>
                <a:gd name="connsiteY29" fmla="*/ 228896 h 3285258"/>
                <a:gd name="connsiteX30" fmla="*/ 1928722 w 2168578"/>
                <a:gd name="connsiteY30" fmla="*/ 390571 h 3285258"/>
                <a:gd name="connsiteX31" fmla="*/ 1957885 w 2168578"/>
                <a:gd name="connsiteY31" fmla="*/ 428151 h 3285258"/>
                <a:gd name="connsiteX32" fmla="*/ 1977839 w 2168578"/>
                <a:gd name="connsiteY32" fmla="*/ 459852 h 3285258"/>
                <a:gd name="connsiteX33" fmla="*/ 1982555 w 2168578"/>
                <a:gd name="connsiteY33" fmla="*/ 468178 h 3285258"/>
                <a:gd name="connsiteX34" fmla="*/ 2026957 w 2168578"/>
                <a:gd name="connsiteY34" fmla="*/ 539322 h 3285258"/>
                <a:gd name="connsiteX35" fmla="*/ 2031976 w 2168578"/>
                <a:gd name="connsiteY35" fmla="*/ 547994 h 3285258"/>
                <a:gd name="connsiteX36" fmla="*/ 2056956 w 2168578"/>
                <a:gd name="connsiteY36" fmla="*/ 593018 h 3285258"/>
                <a:gd name="connsiteX37" fmla="*/ 2082636 w 2168578"/>
                <a:gd name="connsiteY37" fmla="*/ 646657 h 3285258"/>
                <a:gd name="connsiteX38" fmla="*/ 2088353 w 2168578"/>
                <a:gd name="connsiteY38" fmla="*/ 666611 h 3285258"/>
                <a:gd name="connsiteX39" fmla="*/ 2093809 w 2168578"/>
                <a:gd name="connsiteY39" fmla="*/ 675903 h 3285258"/>
                <a:gd name="connsiteX40" fmla="*/ 2103439 w 2168578"/>
                <a:gd name="connsiteY40" fmla="*/ 698148 h 3285258"/>
                <a:gd name="connsiteX41" fmla="*/ 2113282 w 2168578"/>
                <a:gd name="connsiteY41" fmla="*/ 730381 h 3285258"/>
                <a:gd name="connsiteX42" fmla="*/ 2165641 w 2168578"/>
                <a:gd name="connsiteY42" fmla="*/ 1038143 h 3285258"/>
                <a:gd name="connsiteX43" fmla="*/ 2168579 w 2168578"/>
                <a:gd name="connsiteY43" fmla="*/ 1121029 h 3285258"/>
                <a:gd name="connsiteX44" fmla="*/ 1835982 w 2168578"/>
                <a:gd name="connsiteY44" fmla="*/ 1455640 h 3285258"/>
                <a:gd name="connsiteX45" fmla="*/ 8600 w 2168578"/>
                <a:gd name="connsiteY45" fmla="*/ 3285259 h 3285258"/>
                <a:gd name="connsiteX46" fmla="*/ 837 w 2168578"/>
                <a:gd name="connsiteY46" fmla="*/ 3280654 h 3285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68578" h="3285258">
                  <a:moveTo>
                    <a:pt x="837" y="3280654"/>
                  </a:moveTo>
                  <a:cubicBezTo>
                    <a:pt x="-2147" y="2841903"/>
                    <a:pt x="3478" y="939708"/>
                    <a:pt x="7833" y="915350"/>
                  </a:cubicBezTo>
                  <a:cubicBezTo>
                    <a:pt x="11153" y="896778"/>
                    <a:pt x="15385" y="869149"/>
                    <a:pt x="17238" y="853954"/>
                  </a:cubicBezTo>
                  <a:cubicBezTo>
                    <a:pt x="19090" y="838758"/>
                    <a:pt x="22824" y="823562"/>
                    <a:pt x="25537" y="820185"/>
                  </a:cubicBezTo>
                  <a:cubicBezTo>
                    <a:pt x="28249" y="816809"/>
                    <a:pt x="32400" y="802994"/>
                    <a:pt x="34763" y="789487"/>
                  </a:cubicBezTo>
                  <a:cubicBezTo>
                    <a:pt x="39512" y="762329"/>
                    <a:pt x="67297" y="676356"/>
                    <a:pt x="74447" y="666694"/>
                  </a:cubicBezTo>
                  <a:cubicBezTo>
                    <a:pt x="76946" y="663317"/>
                    <a:pt x="80806" y="652956"/>
                    <a:pt x="83025" y="643670"/>
                  </a:cubicBezTo>
                  <a:cubicBezTo>
                    <a:pt x="85242" y="634384"/>
                    <a:pt x="89768" y="626786"/>
                    <a:pt x="93080" y="626786"/>
                  </a:cubicBezTo>
                  <a:cubicBezTo>
                    <a:pt x="96393" y="626786"/>
                    <a:pt x="99103" y="621063"/>
                    <a:pt x="99103" y="614068"/>
                  </a:cubicBezTo>
                  <a:cubicBezTo>
                    <a:pt x="99103" y="607073"/>
                    <a:pt x="103247" y="597206"/>
                    <a:pt x="108312" y="592141"/>
                  </a:cubicBezTo>
                  <a:cubicBezTo>
                    <a:pt x="113377" y="587076"/>
                    <a:pt x="117522" y="577603"/>
                    <a:pt x="117522" y="571091"/>
                  </a:cubicBezTo>
                  <a:cubicBezTo>
                    <a:pt x="117522" y="564578"/>
                    <a:pt x="120099" y="559250"/>
                    <a:pt x="123248" y="559250"/>
                  </a:cubicBezTo>
                  <a:cubicBezTo>
                    <a:pt x="126397" y="559250"/>
                    <a:pt x="130935" y="553070"/>
                    <a:pt x="133333" y="545516"/>
                  </a:cubicBezTo>
                  <a:cubicBezTo>
                    <a:pt x="138345" y="529724"/>
                    <a:pt x="167459" y="483504"/>
                    <a:pt x="174314" y="480458"/>
                  </a:cubicBezTo>
                  <a:cubicBezTo>
                    <a:pt x="176846" y="479332"/>
                    <a:pt x="178919" y="475731"/>
                    <a:pt x="178919" y="472456"/>
                  </a:cubicBezTo>
                  <a:cubicBezTo>
                    <a:pt x="178919" y="458327"/>
                    <a:pt x="250284" y="371973"/>
                    <a:pt x="317979" y="304189"/>
                  </a:cubicBezTo>
                  <a:cubicBezTo>
                    <a:pt x="385431" y="236650"/>
                    <a:pt x="477371" y="164189"/>
                    <a:pt x="533599" y="134256"/>
                  </a:cubicBezTo>
                  <a:cubicBezTo>
                    <a:pt x="620291" y="88104"/>
                    <a:pt x="689642" y="55798"/>
                    <a:pt x="702024" y="55798"/>
                  </a:cubicBezTo>
                  <a:cubicBezTo>
                    <a:pt x="706748" y="55798"/>
                    <a:pt x="713238" y="53314"/>
                    <a:pt x="716446" y="50279"/>
                  </a:cubicBezTo>
                  <a:cubicBezTo>
                    <a:pt x="725724" y="41501"/>
                    <a:pt x="809616" y="18678"/>
                    <a:pt x="866561" y="9441"/>
                  </a:cubicBezTo>
                  <a:cubicBezTo>
                    <a:pt x="969735" y="-7294"/>
                    <a:pt x="1308670" y="-414"/>
                    <a:pt x="1354663" y="19350"/>
                  </a:cubicBezTo>
                  <a:cubicBezTo>
                    <a:pt x="1361417" y="22252"/>
                    <a:pt x="1383520" y="29183"/>
                    <a:pt x="1403781" y="34752"/>
                  </a:cubicBezTo>
                  <a:cubicBezTo>
                    <a:pt x="1424042" y="40321"/>
                    <a:pt x="1443243" y="47335"/>
                    <a:pt x="1446451" y="50338"/>
                  </a:cubicBezTo>
                  <a:cubicBezTo>
                    <a:pt x="1449660" y="53341"/>
                    <a:pt x="1457522" y="55798"/>
                    <a:pt x="1463923" y="55798"/>
                  </a:cubicBezTo>
                  <a:cubicBezTo>
                    <a:pt x="1470325" y="55798"/>
                    <a:pt x="1482896" y="59583"/>
                    <a:pt x="1491859" y="64209"/>
                  </a:cubicBezTo>
                  <a:cubicBezTo>
                    <a:pt x="1500822" y="68835"/>
                    <a:pt x="1535330" y="86103"/>
                    <a:pt x="1568544" y="102582"/>
                  </a:cubicBezTo>
                  <a:cubicBezTo>
                    <a:pt x="1653310" y="144639"/>
                    <a:pt x="1652437" y="144152"/>
                    <a:pt x="1652437" y="149349"/>
                  </a:cubicBezTo>
                  <a:cubicBezTo>
                    <a:pt x="1652437" y="151925"/>
                    <a:pt x="1655119" y="154032"/>
                    <a:pt x="1658398" y="154032"/>
                  </a:cubicBezTo>
                  <a:cubicBezTo>
                    <a:pt x="1663758" y="154032"/>
                    <a:pt x="1718576" y="189056"/>
                    <a:pt x="1726113" y="197296"/>
                  </a:cubicBezTo>
                  <a:cubicBezTo>
                    <a:pt x="1727801" y="199142"/>
                    <a:pt x="1745760" y="213362"/>
                    <a:pt x="1766021" y="228896"/>
                  </a:cubicBezTo>
                  <a:cubicBezTo>
                    <a:pt x="1799229" y="254356"/>
                    <a:pt x="1905633" y="360089"/>
                    <a:pt x="1928722" y="390571"/>
                  </a:cubicBezTo>
                  <a:cubicBezTo>
                    <a:pt x="1933787" y="397258"/>
                    <a:pt x="1946911" y="414169"/>
                    <a:pt x="1957885" y="428151"/>
                  </a:cubicBezTo>
                  <a:cubicBezTo>
                    <a:pt x="1968860" y="442133"/>
                    <a:pt x="1977839" y="456399"/>
                    <a:pt x="1977839" y="459852"/>
                  </a:cubicBezTo>
                  <a:cubicBezTo>
                    <a:pt x="1977839" y="463306"/>
                    <a:pt x="1979961" y="467053"/>
                    <a:pt x="1982555" y="468178"/>
                  </a:cubicBezTo>
                  <a:cubicBezTo>
                    <a:pt x="1989318" y="471113"/>
                    <a:pt x="2026957" y="531420"/>
                    <a:pt x="2026957" y="539322"/>
                  </a:cubicBezTo>
                  <a:cubicBezTo>
                    <a:pt x="2026957" y="542966"/>
                    <a:pt x="2029215" y="546868"/>
                    <a:pt x="2031976" y="547994"/>
                  </a:cubicBezTo>
                  <a:cubicBezTo>
                    <a:pt x="2034736" y="549119"/>
                    <a:pt x="2045977" y="569380"/>
                    <a:pt x="2056956" y="593018"/>
                  </a:cubicBezTo>
                  <a:cubicBezTo>
                    <a:pt x="2067935" y="616656"/>
                    <a:pt x="2079491" y="640793"/>
                    <a:pt x="2082636" y="646657"/>
                  </a:cubicBezTo>
                  <a:cubicBezTo>
                    <a:pt x="2085780" y="652520"/>
                    <a:pt x="2088353" y="661500"/>
                    <a:pt x="2088353" y="666611"/>
                  </a:cubicBezTo>
                  <a:cubicBezTo>
                    <a:pt x="2088353" y="671722"/>
                    <a:pt x="2090808" y="675903"/>
                    <a:pt x="2093809" y="675903"/>
                  </a:cubicBezTo>
                  <a:cubicBezTo>
                    <a:pt x="2096811" y="675903"/>
                    <a:pt x="2101144" y="685914"/>
                    <a:pt x="2103439" y="698148"/>
                  </a:cubicBezTo>
                  <a:cubicBezTo>
                    <a:pt x="2105734" y="710383"/>
                    <a:pt x="2110164" y="724888"/>
                    <a:pt x="2113282" y="730381"/>
                  </a:cubicBezTo>
                  <a:cubicBezTo>
                    <a:pt x="2135788" y="770029"/>
                    <a:pt x="2161492" y="921119"/>
                    <a:pt x="2165641" y="1038143"/>
                  </a:cubicBezTo>
                  <a:lnTo>
                    <a:pt x="2168579" y="1121029"/>
                  </a:lnTo>
                  <a:lnTo>
                    <a:pt x="1835982" y="1455640"/>
                  </a:lnTo>
                  <a:cubicBezTo>
                    <a:pt x="443875" y="2856179"/>
                    <a:pt x="15320" y="3285259"/>
                    <a:pt x="8600" y="3285259"/>
                  </a:cubicBezTo>
                  <a:cubicBezTo>
                    <a:pt x="4347" y="3285259"/>
                    <a:pt x="854" y="3283187"/>
                    <a:pt x="837" y="3280654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53CD0A7-4950-4133-8A0A-BEDC5815414C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551942" y="443530"/>
            <a:ext cx="2706859" cy="122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0220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mb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62208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254304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87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671721-CFBE-4EA2-A0E0-C95CB809CC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18777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8703CC6-8477-444D-9E15-F448F8EB1FAC}"/>
              </a:ext>
            </a:extLst>
          </p:cNvPr>
          <p:cNvSpPr/>
          <p:nvPr userDrawn="1"/>
        </p:nvSpPr>
        <p:spPr>
          <a:xfrm>
            <a:off x="6083449" y="-11876"/>
            <a:ext cx="6126480" cy="69037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F515D2-F143-0544-9BEE-56F67B4817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769" y="169857"/>
            <a:ext cx="5669280" cy="391013"/>
          </a:xfrm>
          <a:prstGeom prst="rect">
            <a:avLst/>
          </a:prstGeom>
        </p:spPr>
        <p:txBody>
          <a:bodyPr/>
          <a:lstStyle>
            <a:lvl1pPr algn="l">
              <a:defRPr sz="2500"/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57CB45-B150-0948-ACCF-D2859B6A04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9776" y="6189786"/>
            <a:ext cx="1282299" cy="5802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CBA591-F270-EB46-BF3B-3D5037F456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8139" y="6286012"/>
            <a:ext cx="2743200" cy="365125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9C099C12-0FA6-5345-B979-B19A08F582E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BA3406F-ECEC-884B-9E2C-1B2EB48E65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358" y="598743"/>
            <a:ext cx="5669280" cy="3275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007E78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B12D97C5-956F-7E4F-B4FD-65DC6EFE12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396" y="6414165"/>
            <a:ext cx="4279900" cy="21926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8676513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2F36D7-2E1E-4BB2-8630-898544919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72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Inputs for International Vendor Confer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245F39-CE17-4CD2-922F-69B58E9F6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0828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06DB228A-0269-491C-B3AC-FBEBD8E83F2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32EE987-2957-DF41-A3AD-BC28F94E5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014984"/>
          </a:xfr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algn="l">
              <a:defRPr sz="320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BC8F08C-1B02-4C61-2A1E-BBB6624C07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982" y="1250477"/>
            <a:ext cx="11490036" cy="487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CBD1A2-FBC6-77CA-FB7C-2032B928AA43}"/>
              </a:ext>
            </a:extLst>
          </p:cNvPr>
          <p:cNvSpPr/>
          <p:nvPr userDrawn="1"/>
        </p:nvSpPr>
        <p:spPr>
          <a:xfrm>
            <a:off x="10241280" y="6120856"/>
            <a:ext cx="1599738" cy="60125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23DDE73-B01C-DBE0-6657-D32BDE53AA46}"/>
              </a:ext>
            </a:extLst>
          </p:cNvPr>
          <p:cNvGrpSpPr/>
          <p:nvPr userDrawn="1"/>
        </p:nvGrpSpPr>
        <p:grpSpPr>
          <a:xfrm>
            <a:off x="5824517" y="6356349"/>
            <a:ext cx="5875734" cy="365760"/>
            <a:chOff x="4875268" y="4343390"/>
            <a:chExt cx="5875734" cy="36576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ADEF369-55FB-0557-16B4-18181820C6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2202" y="4343390"/>
              <a:ext cx="1828800" cy="365760"/>
            </a:xfrm>
            <a:prstGeom prst="rect">
              <a:avLst/>
            </a:prstGeom>
          </p:spPr>
        </p:pic>
        <p:pic>
          <p:nvPicPr>
            <p:cNvPr id="7" name="Picture 6" descr="A close-up of a logo&#10;&#10;Description automatically generated with low confidence">
              <a:extLst>
                <a:ext uri="{FF2B5EF4-FFF2-40B4-BE49-F238E27FC236}">
                  <a16:creationId xmlns:a16="http://schemas.microsoft.com/office/drawing/2014/main" id="{6F996773-FF7A-398C-222A-77278E465F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1015" y="4343390"/>
              <a:ext cx="1668338" cy="36576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90B7F29-4058-2449-696F-FB670D8F24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555615" y="4343390"/>
              <a:ext cx="452551" cy="36576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6A8F447-BD18-D6D0-7C12-F660D8BECC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6354" y="4343390"/>
              <a:ext cx="626412" cy="365760"/>
            </a:xfrm>
            <a:prstGeom prst="rect">
              <a:avLst/>
            </a:prstGeom>
          </p:spPr>
        </p:pic>
        <p:pic>
          <p:nvPicPr>
            <p:cNvPr id="10" name="Google Shape;39;p52">
              <a:extLst>
                <a:ext uri="{FF2B5EF4-FFF2-40B4-BE49-F238E27FC236}">
                  <a16:creationId xmlns:a16="http://schemas.microsoft.com/office/drawing/2014/main" id="{CB117569-62AC-7A38-337F-87BA7E53C4D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875268" y="4343390"/>
              <a:ext cx="808237" cy="3657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2340073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996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760F18C-4F47-48F9-976D-8AFC442270C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4" name="Documenttype">
            <a:extLst>
              <a:ext uri="{FF2B5EF4-FFF2-40B4-BE49-F238E27FC236}">
                <a16:creationId xmlns:a16="http://schemas.microsoft.com/office/drawing/2014/main" id="{4202F850-7676-42BC-BB11-EE2C86D5DC1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4559" y="6053524"/>
            <a:ext cx="45927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1B000492-7DCA-4D81-AB60-AF471CD07CC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59" y="4945896"/>
            <a:ext cx="45927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683D8B4D-213E-49A1-898C-82F6C79029D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59" y="2914940"/>
            <a:ext cx="4592714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67FF91-6C20-4449-985D-53C021E30FA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4560" y="431058"/>
            <a:ext cx="2606896" cy="118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8540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007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ED643B1-662F-4C4B-BDB0-DD9B33B41F7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781C1EA-EFAA-4B34-942A-E2180417B072}"/>
              </a:ext>
            </a:extLst>
          </p:cNvPr>
          <p:cNvGrpSpPr/>
          <p:nvPr userDrawn="1"/>
        </p:nvGrpSpPr>
        <p:grpSpPr bwMode="ltGray">
          <a:xfrm>
            <a:off x="5920935" y="25805"/>
            <a:ext cx="6271065" cy="6806391"/>
            <a:chOff x="5920935" y="25805"/>
            <a:chExt cx="6271065" cy="6806391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1163D05-4CF6-4DDE-B4A7-43214FB120EB}"/>
                </a:ext>
              </a:extLst>
            </p:cNvPr>
            <p:cNvGrpSpPr/>
            <p:nvPr/>
          </p:nvGrpSpPr>
          <p:grpSpPr bwMode="ltGray">
            <a:xfrm>
              <a:off x="5920935" y="25806"/>
              <a:ext cx="6271065" cy="6806390"/>
              <a:chOff x="-7837089" y="-634999"/>
              <a:chExt cx="6271065" cy="680639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EB0D0E86-378C-4238-A2FC-B498B35BCBE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4682" y="-634999"/>
                <a:ext cx="2152513" cy="3260921"/>
              </a:xfrm>
              <a:custGeom>
                <a:avLst/>
                <a:gdLst>
                  <a:gd name="connsiteX0" fmla="*/ 1046402 w 2152513"/>
                  <a:gd name="connsiteY0" fmla="*/ 11 h 3260921"/>
                  <a:gd name="connsiteX1" fmla="*/ 1344627 w 2152513"/>
                  <a:gd name="connsiteY1" fmla="*/ 19207 h 3260921"/>
                  <a:gd name="connsiteX2" fmla="*/ 1393381 w 2152513"/>
                  <a:gd name="connsiteY2" fmla="*/ 34495 h 3260921"/>
                  <a:gd name="connsiteX3" fmla="*/ 1435735 w 2152513"/>
                  <a:gd name="connsiteY3" fmla="*/ 49965 h 3260921"/>
                  <a:gd name="connsiteX4" fmla="*/ 1453078 w 2152513"/>
                  <a:gd name="connsiteY4" fmla="*/ 55385 h 3260921"/>
                  <a:gd name="connsiteX5" fmla="*/ 1480807 w 2152513"/>
                  <a:gd name="connsiteY5" fmla="*/ 63733 h 3260921"/>
                  <a:gd name="connsiteX6" fmla="*/ 1556924 w 2152513"/>
                  <a:gd name="connsiteY6" fmla="*/ 101822 h 3260921"/>
                  <a:gd name="connsiteX7" fmla="*/ 1640195 w 2152513"/>
                  <a:gd name="connsiteY7" fmla="*/ 148243 h 3260921"/>
                  <a:gd name="connsiteX8" fmla="*/ 1646112 w 2152513"/>
                  <a:gd name="connsiteY8" fmla="*/ 152891 h 3260921"/>
                  <a:gd name="connsiteX9" fmla="*/ 1713325 w 2152513"/>
                  <a:gd name="connsiteY9" fmla="*/ 195835 h 3260921"/>
                  <a:gd name="connsiteX10" fmla="*/ 1752938 w 2152513"/>
                  <a:gd name="connsiteY10" fmla="*/ 227200 h 3260921"/>
                  <a:gd name="connsiteX11" fmla="*/ 1914433 w 2152513"/>
                  <a:gd name="connsiteY11" fmla="*/ 387678 h 3260921"/>
                  <a:gd name="connsiteX12" fmla="*/ 1943380 w 2152513"/>
                  <a:gd name="connsiteY12" fmla="*/ 424979 h 3260921"/>
                  <a:gd name="connsiteX13" fmla="*/ 1963186 w 2152513"/>
                  <a:gd name="connsiteY13" fmla="*/ 456445 h 3260921"/>
                  <a:gd name="connsiteX14" fmla="*/ 1967867 w 2152513"/>
                  <a:gd name="connsiteY14" fmla="*/ 464710 h 3260921"/>
                  <a:gd name="connsiteX15" fmla="*/ 2011940 w 2152513"/>
                  <a:gd name="connsiteY15" fmla="*/ 535327 h 3260921"/>
                  <a:gd name="connsiteX16" fmla="*/ 2016922 w 2152513"/>
                  <a:gd name="connsiteY16" fmla="*/ 543934 h 3260921"/>
                  <a:gd name="connsiteX17" fmla="*/ 2041717 w 2152513"/>
                  <a:gd name="connsiteY17" fmla="*/ 588625 h 3260921"/>
                  <a:gd name="connsiteX18" fmla="*/ 2067207 w 2152513"/>
                  <a:gd name="connsiteY18" fmla="*/ 641866 h 3260921"/>
                  <a:gd name="connsiteX19" fmla="*/ 2072882 w 2152513"/>
                  <a:gd name="connsiteY19" fmla="*/ 661673 h 3260921"/>
                  <a:gd name="connsiteX20" fmla="*/ 2078297 w 2152513"/>
                  <a:gd name="connsiteY20" fmla="*/ 670896 h 3260921"/>
                  <a:gd name="connsiteX21" fmla="*/ 2087856 w 2152513"/>
                  <a:gd name="connsiteY21" fmla="*/ 692976 h 3260921"/>
                  <a:gd name="connsiteX22" fmla="*/ 2097626 w 2152513"/>
                  <a:gd name="connsiteY22" fmla="*/ 724970 h 3260921"/>
                  <a:gd name="connsiteX23" fmla="*/ 2149597 w 2152513"/>
                  <a:gd name="connsiteY23" fmla="*/ 1030452 h 3260921"/>
                  <a:gd name="connsiteX24" fmla="*/ 2152513 w 2152513"/>
                  <a:gd name="connsiteY24" fmla="*/ 1112724 h 3260921"/>
                  <a:gd name="connsiteX25" fmla="*/ 1822380 w 2152513"/>
                  <a:gd name="connsiteY25" fmla="*/ 1444856 h 3260921"/>
                  <a:gd name="connsiteX26" fmla="*/ 8537 w 2152513"/>
                  <a:gd name="connsiteY26" fmla="*/ 3260921 h 3260921"/>
                  <a:gd name="connsiteX27" fmla="*/ 831 w 2152513"/>
                  <a:gd name="connsiteY27" fmla="*/ 3256350 h 3260921"/>
                  <a:gd name="connsiteX28" fmla="*/ 7775 w 2152513"/>
                  <a:gd name="connsiteY28" fmla="*/ 908569 h 3260921"/>
                  <a:gd name="connsiteX29" fmla="*/ 17111 w 2152513"/>
                  <a:gd name="connsiteY29" fmla="*/ 847628 h 3260921"/>
                  <a:gd name="connsiteX30" fmla="*/ 25348 w 2152513"/>
                  <a:gd name="connsiteY30" fmla="*/ 814109 h 3260921"/>
                  <a:gd name="connsiteX31" fmla="*/ 34506 w 2152513"/>
                  <a:gd name="connsiteY31" fmla="*/ 783638 h 3260921"/>
                  <a:gd name="connsiteX32" fmla="*/ 73896 w 2152513"/>
                  <a:gd name="connsiteY32" fmla="*/ 661755 h 3260921"/>
                  <a:gd name="connsiteX33" fmla="*/ 82410 w 2152513"/>
                  <a:gd name="connsiteY33" fmla="*/ 638902 h 3260921"/>
                  <a:gd name="connsiteX34" fmla="*/ 92391 w 2152513"/>
                  <a:gd name="connsiteY34" fmla="*/ 622143 h 3260921"/>
                  <a:gd name="connsiteX35" fmla="*/ 98369 w 2152513"/>
                  <a:gd name="connsiteY35" fmla="*/ 609519 h 3260921"/>
                  <a:gd name="connsiteX36" fmla="*/ 107510 w 2152513"/>
                  <a:gd name="connsiteY36" fmla="*/ 587754 h 3260921"/>
                  <a:gd name="connsiteX37" fmla="*/ 116652 w 2152513"/>
                  <a:gd name="connsiteY37" fmla="*/ 566860 h 3260921"/>
                  <a:gd name="connsiteX38" fmla="*/ 122335 w 2152513"/>
                  <a:gd name="connsiteY38" fmla="*/ 555107 h 3260921"/>
                  <a:gd name="connsiteX39" fmla="*/ 132345 w 2152513"/>
                  <a:gd name="connsiteY39" fmla="*/ 541475 h 3260921"/>
                  <a:gd name="connsiteX40" fmla="*/ 173023 w 2152513"/>
                  <a:gd name="connsiteY40" fmla="*/ 476899 h 3260921"/>
                  <a:gd name="connsiteX41" fmla="*/ 177594 w 2152513"/>
                  <a:gd name="connsiteY41" fmla="*/ 468956 h 3260921"/>
                  <a:gd name="connsiteX42" fmla="*/ 315623 w 2152513"/>
                  <a:gd name="connsiteY42" fmla="*/ 301936 h 3260921"/>
                  <a:gd name="connsiteX43" fmla="*/ 529646 w 2152513"/>
                  <a:gd name="connsiteY43" fmla="*/ 133262 h 3260921"/>
                  <a:gd name="connsiteX44" fmla="*/ 696823 w 2152513"/>
                  <a:gd name="connsiteY44" fmla="*/ 55385 h 3260921"/>
                  <a:gd name="connsiteX45" fmla="*/ 711138 w 2152513"/>
                  <a:gd name="connsiteY45" fmla="*/ 49907 h 3260921"/>
                  <a:gd name="connsiteX46" fmla="*/ 860141 w 2152513"/>
                  <a:gd name="connsiteY46" fmla="*/ 9371 h 3260921"/>
                  <a:gd name="connsiteX47" fmla="*/ 1046402 w 2152513"/>
                  <a:gd name="connsiteY47" fmla="*/ 11 h 3260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152513" h="3260921">
                    <a:moveTo>
                      <a:pt x="1046402" y="11"/>
                    </a:moveTo>
                    <a:cubicBezTo>
                      <a:pt x="1173979" y="-320"/>
                      <a:pt x="1316094" y="6946"/>
                      <a:pt x="1344627" y="19207"/>
                    </a:cubicBezTo>
                    <a:cubicBezTo>
                      <a:pt x="1351331" y="22087"/>
                      <a:pt x="1373270" y="28967"/>
                      <a:pt x="1393381" y="34495"/>
                    </a:cubicBezTo>
                    <a:cubicBezTo>
                      <a:pt x="1413492" y="40022"/>
                      <a:pt x="1432551" y="46984"/>
                      <a:pt x="1435735" y="49965"/>
                    </a:cubicBezTo>
                    <a:cubicBezTo>
                      <a:pt x="1438920" y="52946"/>
                      <a:pt x="1446724" y="55385"/>
                      <a:pt x="1453078" y="55385"/>
                    </a:cubicBezTo>
                    <a:cubicBezTo>
                      <a:pt x="1459432" y="55385"/>
                      <a:pt x="1471910" y="59142"/>
                      <a:pt x="1480807" y="63733"/>
                    </a:cubicBezTo>
                    <a:cubicBezTo>
                      <a:pt x="1489703" y="68325"/>
                      <a:pt x="1523956" y="85465"/>
                      <a:pt x="1556924" y="101822"/>
                    </a:cubicBezTo>
                    <a:cubicBezTo>
                      <a:pt x="1641062" y="143568"/>
                      <a:pt x="1640195" y="143084"/>
                      <a:pt x="1640195" y="148243"/>
                    </a:cubicBezTo>
                    <a:cubicBezTo>
                      <a:pt x="1640195" y="150800"/>
                      <a:pt x="1642857" y="152891"/>
                      <a:pt x="1646112" y="152891"/>
                    </a:cubicBezTo>
                    <a:cubicBezTo>
                      <a:pt x="1651432" y="152891"/>
                      <a:pt x="1705844" y="187656"/>
                      <a:pt x="1713325" y="195835"/>
                    </a:cubicBezTo>
                    <a:cubicBezTo>
                      <a:pt x="1715001" y="197667"/>
                      <a:pt x="1732827" y="211781"/>
                      <a:pt x="1752938" y="227200"/>
                    </a:cubicBezTo>
                    <a:cubicBezTo>
                      <a:pt x="1785900" y="252472"/>
                      <a:pt x="1891515" y="357421"/>
                      <a:pt x="1914433" y="387678"/>
                    </a:cubicBezTo>
                    <a:cubicBezTo>
                      <a:pt x="1919461" y="394315"/>
                      <a:pt x="1932487" y="411101"/>
                      <a:pt x="1943380" y="424979"/>
                    </a:cubicBezTo>
                    <a:cubicBezTo>
                      <a:pt x="1954274" y="438858"/>
                      <a:pt x="1963186" y="453018"/>
                      <a:pt x="1963186" y="456445"/>
                    </a:cubicBezTo>
                    <a:cubicBezTo>
                      <a:pt x="1963186" y="459874"/>
                      <a:pt x="1965293" y="463593"/>
                      <a:pt x="1967867" y="464710"/>
                    </a:cubicBezTo>
                    <a:cubicBezTo>
                      <a:pt x="1974580" y="467623"/>
                      <a:pt x="2011940" y="527483"/>
                      <a:pt x="2011940" y="535327"/>
                    </a:cubicBezTo>
                    <a:cubicBezTo>
                      <a:pt x="2011940" y="538944"/>
                      <a:pt x="2014182" y="542817"/>
                      <a:pt x="2016922" y="543934"/>
                    </a:cubicBezTo>
                    <a:cubicBezTo>
                      <a:pt x="2019662" y="545051"/>
                      <a:pt x="2030819" y="565162"/>
                      <a:pt x="2041717" y="588625"/>
                    </a:cubicBezTo>
                    <a:cubicBezTo>
                      <a:pt x="2052615" y="612088"/>
                      <a:pt x="2064085" y="636046"/>
                      <a:pt x="2067207" y="641866"/>
                    </a:cubicBezTo>
                    <a:cubicBezTo>
                      <a:pt x="2070328" y="647686"/>
                      <a:pt x="2072882" y="656600"/>
                      <a:pt x="2072882" y="661673"/>
                    </a:cubicBezTo>
                    <a:cubicBezTo>
                      <a:pt x="2072882" y="666746"/>
                      <a:pt x="2075318" y="670896"/>
                      <a:pt x="2078297" y="670896"/>
                    </a:cubicBezTo>
                    <a:cubicBezTo>
                      <a:pt x="2081277" y="670896"/>
                      <a:pt x="2085578" y="680833"/>
                      <a:pt x="2087856" y="692976"/>
                    </a:cubicBezTo>
                    <a:cubicBezTo>
                      <a:pt x="2090134" y="705120"/>
                      <a:pt x="2094531" y="719518"/>
                      <a:pt x="2097626" y="724970"/>
                    </a:cubicBezTo>
                    <a:cubicBezTo>
                      <a:pt x="2119965" y="764324"/>
                      <a:pt x="2145479" y="914295"/>
                      <a:pt x="2149597" y="1030452"/>
                    </a:cubicBezTo>
                    <a:lnTo>
                      <a:pt x="2152513" y="1112724"/>
                    </a:lnTo>
                    <a:lnTo>
                      <a:pt x="1822380" y="1444856"/>
                    </a:lnTo>
                    <a:cubicBezTo>
                      <a:pt x="440587" y="2835020"/>
                      <a:pt x="15207" y="3260921"/>
                      <a:pt x="8537" y="3260921"/>
                    </a:cubicBezTo>
                    <a:cubicBezTo>
                      <a:pt x="4315" y="3260921"/>
                      <a:pt x="848" y="3258864"/>
                      <a:pt x="831" y="3256350"/>
                    </a:cubicBezTo>
                    <a:cubicBezTo>
                      <a:pt x="-2131" y="2820850"/>
                      <a:pt x="3452" y="932747"/>
                      <a:pt x="7775" y="908569"/>
                    </a:cubicBezTo>
                    <a:cubicBezTo>
                      <a:pt x="11071" y="890135"/>
                      <a:pt x="15271" y="862710"/>
                      <a:pt x="17111" y="847628"/>
                    </a:cubicBezTo>
                    <a:cubicBezTo>
                      <a:pt x="18949" y="832544"/>
                      <a:pt x="22655" y="817461"/>
                      <a:pt x="25348" y="814109"/>
                    </a:cubicBezTo>
                    <a:cubicBezTo>
                      <a:pt x="28040" y="810758"/>
                      <a:pt x="32160" y="797045"/>
                      <a:pt x="34506" y="783638"/>
                    </a:cubicBezTo>
                    <a:cubicBezTo>
                      <a:pt x="39220" y="756682"/>
                      <a:pt x="66799" y="671345"/>
                      <a:pt x="73896" y="661755"/>
                    </a:cubicBezTo>
                    <a:cubicBezTo>
                      <a:pt x="76376" y="658403"/>
                      <a:pt x="80208" y="648119"/>
                      <a:pt x="82410" y="638902"/>
                    </a:cubicBezTo>
                    <a:cubicBezTo>
                      <a:pt x="84611" y="629684"/>
                      <a:pt x="89103" y="622143"/>
                      <a:pt x="92391" y="622143"/>
                    </a:cubicBezTo>
                    <a:cubicBezTo>
                      <a:pt x="95679" y="622143"/>
                      <a:pt x="98369" y="616462"/>
                      <a:pt x="98369" y="609519"/>
                    </a:cubicBezTo>
                    <a:cubicBezTo>
                      <a:pt x="98369" y="602576"/>
                      <a:pt x="102482" y="592782"/>
                      <a:pt x="107510" y="587754"/>
                    </a:cubicBezTo>
                    <a:cubicBezTo>
                      <a:pt x="112537" y="582727"/>
                      <a:pt x="116652" y="573324"/>
                      <a:pt x="116652" y="566860"/>
                    </a:cubicBezTo>
                    <a:cubicBezTo>
                      <a:pt x="116652" y="560396"/>
                      <a:pt x="119209" y="555107"/>
                      <a:pt x="122335" y="555107"/>
                    </a:cubicBezTo>
                    <a:cubicBezTo>
                      <a:pt x="125461" y="555107"/>
                      <a:pt x="129965" y="548973"/>
                      <a:pt x="132345" y="541475"/>
                    </a:cubicBezTo>
                    <a:cubicBezTo>
                      <a:pt x="137320" y="525800"/>
                      <a:pt x="166219" y="479922"/>
                      <a:pt x="173023" y="476899"/>
                    </a:cubicBezTo>
                    <a:cubicBezTo>
                      <a:pt x="175536" y="475781"/>
                      <a:pt x="177594" y="472207"/>
                      <a:pt x="177594" y="468956"/>
                    </a:cubicBezTo>
                    <a:cubicBezTo>
                      <a:pt x="177594" y="454932"/>
                      <a:pt x="248430" y="369217"/>
                      <a:pt x="315623" y="301936"/>
                    </a:cubicBezTo>
                    <a:cubicBezTo>
                      <a:pt x="382576" y="234897"/>
                      <a:pt x="473835" y="162973"/>
                      <a:pt x="529646" y="133262"/>
                    </a:cubicBezTo>
                    <a:cubicBezTo>
                      <a:pt x="615696" y="87451"/>
                      <a:pt x="684533" y="55385"/>
                      <a:pt x="696823" y="55385"/>
                    </a:cubicBezTo>
                    <a:cubicBezTo>
                      <a:pt x="701512" y="55385"/>
                      <a:pt x="707954" y="52919"/>
                      <a:pt x="711138" y="49907"/>
                    </a:cubicBezTo>
                    <a:cubicBezTo>
                      <a:pt x="720348" y="41194"/>
                      <a:pt x="803618" y="18540"/>
                      <a:pt x="860141" y="9371"/>
                    </a:cubicBezTo>
                    <a:cubicBezTo>
                      <a:pt x="898545" y="3142"/>
                      <a:pt x="969857" y="209"/>
                      <a:pt x="1046402" y="1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DC7B063B-97FA-4EA5-9D0F-094D258A90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64500"/>
                <a:ext cx="1712951" cy="2451369"/>
              </a:xfrm>
              <a:custGeom>
                <a:avLst/>
                <a:gdLst>
                  <a:gd name="connsiteX0" fmla="*/ 737602 w 1712951"/>
                  <a:gd name="connsiteY0" fmla="*/ 1 h 2451369"/>
                  <a:gd name="connsiteX1" fmla="*/ 917173 w 1712951"/>
                  <a:gd name="connsiteY1" fmla="*/ 11709 h 2451369"/>
                  <a:gd name="connsiteX2" fmla="*/ 984209 w 1712951"/>
                  <a:gd name="connsiteY2" fmla="*/ 28486 h 2451369"/>
                  <a:gd name="connsiteX3" fmla="*/ 1020774 w 1712951"/>
                  <a:gd name="connsiteY3" fmla="*/ 39222 h 2451369"/>
                  <a:gd name="connsiteX4" fmla="*/ 1048040 w 1712951"/>
                  <a:gd name="connsiteY4" fmla="*/ 47945 h 2451369"/>
                  <a:gd name="connsiteX5" fmla="*/ 1284311 w 1712951"/>
                  <a:gd name="connsiteY5" fmla="*/ 165647 h 2451369"/>
                  <a:gd name="connsiteX6" fmla="*/ 1465649 w 1712951"/>
                  <a:gd name="connsiteY6" fmla="*/ 323290 h 2451369"/>
                  <a:gd name="connsiteX7" fmla="*/ 1506657 w 1712951"/>
                  <a:gd name="connsiteY7" fmla="*/ 371266 h 2451369"/>
                  <a:gd name="connsiteX8" fmla="*/ 1532968 w 1712951"/>
                  <a:gd name="connsiteY8" fmla="*/ 406715 h 2451369"/>
                  <a:gd name="connsiteX9" fmla="*/ 1542237 w 1712951"/>
                  <a:gd name="connsiteY9" fmla="*/ 417379 h 2451369"/>
                  <a:gd name="connsiteX10" fmla="*/ 1547921 w 1712951"/>
                  <a:gd name="connsiteY10" fmla="*/ 422779 h 2451369"/>
                  <a:gd name="connsiteX11" fmla="*/ 1572297 w 1712951"/>
                  <a:gd name="connsiteY11" fmla="*/ 464683 h 2451369"/>
                  <a:gd name="connsiteX12" fmla="*/ 1596674 w 1712951"/>
                  <a:gd name="connsiteY12" fmla="*/ 508036 h 2451369"/>
                  <a:gd name="connsiteX13" fmla="*/ 1602768 w 1712951"/>
                  <a:gd name="connsiteY13" fmla="*/ 514886 h 2451369"/>
                  <a:gd name="connsiteX14" fmla="*/ 1608862 w 1712951"/>
                  <a:gd name="connsiteY14" fmla="*/ 520375 h 2451369"/>
                  <a:gd name="connsiteX15" fmla="*/ 1632325 w 1712951"/>
                  <a:gd name="connsiteY15" fmla="*/ 576746 h 2451369"/>
                  <a:gd name="connsiteX16" fmla="*/ 1666675 w 1712951"/>
                  <a:gd name="connsiteY16" fmla="*/ 661147 h 2451369"/>
                  <a:gd name="connsiteX17" fmla="*/ 1682991 w 1712951"/>
                  <a:gd name="connsiteY17" fmla="*/ 706852 h 2451369"/>
                  <a:gd name="connsiteX18" fmla="*/ 1694018 w 1712951"/>
                  <a:gd name="connsiteY18" fmla="*/ 749512 h 2451369"/>
                  <a:gd name="connsiteX19" fmla="*/ 1706327 w 1712951"/>
                  <a:gd name="connsiteY19" fmla="*/ 810453 h 2451369"/>
                  <a:gd name="connsiteX20" fmla="*/ 1706267 w 1712951"/>
                  <a:gd name="connsiteY20" fmla="*/ 1145634 h 2451369"/>
                  <a:gd name="connsiteX21" fmla="*/ 1694147 w 1712951"/>
                  <a:gd name="connsiteY21" fmla="*/ 1203527 h 2451369"/>
                  <a:gd name="connsiteX22" fmla="*/ 1664737 w 1712951"/>
                  <a:gd name="connsiteY22" fmla="*/ 1302955 h 2451369"/>
                  <a:gd name="connsiteX23" fmla="*/ 1657596 w 1712951"/>
                  <a:gd name="connsiteY23" fmla="*/ 1325232 h 2451369"/>
                  <a:gd name="connsiteX24" fmla="*/ 1646274 w 1712951"/>
                  <a:gd name="connsiteY24" fmla="*/ 1353783 h 2451369"/>
                  <a:gd name="connsiteX25" fmla="*/ 1579983 w 1712951"/>
                  <a:gd name="connsiteY25" fmla="*/ 1482348 h 2451369"/>
                  <a:gd name="connsiteX26" fmla="*/ 1566183 w 1712951"/>
                  <a:gd name="connsiteY26" fmla="*/ 1508000 h 2451369"/>
                  <a:gd name="connsiteX27" fmla="*/ 1561612 w 1712951"/>
                  <a:gd name="connsiteY27" fmla="*/ 1515346 h 2451369"/>
                  <a:gd name="connsiteX28" fmla="*/ 1536059 w 1712951"/>
                  <a:gd name="connsiteY28" fmla="*/ 1547849 h 2451369"/>
                  <a:gd name="connsiteX29" fmla="*/ 1501018 w 1712951"/>
                  <a:gd name="connsiteY29" fmla="*/ 1591740 h 2451369"/>
                  <a:gd name="connsiteX30" fmla="*/ 1486959 w 1712951"/>
                  <a:gd name="connsiteY30" fmla="*/ 1610083 h 2451369"/>
                  <a:gd name="connsiteX31" fmla="*/ 645859 w 1712951"/>
                  <a:gd name="connsiteY31" fmla="*/ 2451366 h 2451369"/>
                  <a:gd name="connsiteX32" fmla="*/ 326344 w 1712951"/>
                  <a:gd name="connsiteY32" fmla="*/ 2448264 h 2451369"/>
                  <a:gd name="connsiteX33" fmla="*/ 326363 w 1712951"/>
                  <a:gd name="connsiteY33" fmla="*/ 2448263 h 2451369"/>
                  <a:gd name="connsiteX34" fmla="*/ 4989 w 1712951"/>
                  <a:gd name="connsiteY34" fmla="*/ 2439067 h 2451369"/>
                  <a:gd name="connsiteX35" fmla="*/ 93 w 1712951"/>
                  <a:gd name="connsiteY35" fmla="*/ 1380732 h 2451369"/>
                  <a:gd name="connsiteX36" fmla="*/ 0 w 1712951"/>
                  <a:gd name="connsiteY36" fmla="*/ 329959 h 2451369"/>
                  <a:gd name="connsiteX37" fmla="*/ 41136 w 1712951"/>
                  <a:gd name="connsiteY37" fmla="*/ 289770 h 2451369"/>
                  <a:gd name="connsiteX38" fmla="*/ 182263 w 1712951"/>
                  <a:gd name="connsiteY38" fmla="*/ 173612 h 2451369"/>
                  <a:gd name="connsiteX39" fmla="*/ 188919 w 1712951"/>
                  <a:gd name="connsiteY39" fmla="*/ 168832 h 2451369"/>
                  <a:gd name="connsiteX40" fmla="*/ 208725 w 1712951"/>
                  <a:gd name="connsiteY40" fmla="*/ 152532 h 2451369"/>
                  <a:gd name="connsiteX41" fmla="*/ 231578 w 1712951"/>
                  <a:gd name="connsiteY41" fmla="*/ 137239 h 2451369"/>
                  <a:gd name="connsiteX42" fmla="*/ 307756 w 1712951"/>
                  <a:gd name="connsiteY42" fmla="*/ 98355 h 2451369"/>
                  <a:gd name="connsiteX43" fmla="*/ 390800 w 1712951"/>
                  <a:gd name="connsiteY43" fmla="*/ 57903 h 2451369"/>
                  <a:gd name="connsiteX44" fmla="*/ 424318 w 1712951"/>
                  <a:gd name="connsiteY44" fmla="*/ 48304 h 2451369"/>
                  <a:gd name="connsiteX45" fmla="*/ 454016 w 1712951"/>
                  <a:gd name="connsiteY45" fmla="*/ 39286 h 2451369"/>
                  <a:gd name="connsiteX46" fmla="*/ 490581 w 1712951"/>
                  <a:gd name="connsiteY46" fmla="*/ 28486 h 2451369"/>
                  <a:gd name="connsiteX47" fmla="*/ 557617 w 1712951"/>
                  <a:gd name="connsiteY47" fmla="*/ 11800 h 2451369"/>
                  <a:gd name="connsiteX48" fmla="*/ 737602 w 1712951"/>
                  <a:gd name="connsiteY48" fmla="*/ 1 h 2451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712951" h="2451369">
                    <a:moveTo>
                      <a:pt x="737602" y="1"/>
                    </a:moveTo>
                    <a:cubicBezTo>
                      <a:pt x="814093" y="-18"/>
                      <a:pt x="890515" y="3880"/>
                      <a:pt x="917173" y="11709"/>
                    </a:cubicBezTo>
                    <a:cubicBezTo>
                      <a:pt x="937284" y="17615"/>
                      <a:pt x="967450" y="25165"/>
                      <a:pt x="984209" y="28486"/>
                    </a:cubicBezTo>
                    <a:cubicBezTo>
                      <a:pt x="1000968" y="31808"/>
                      <a:pt x="1017422" y="36640"/>
                      <a:pt x="1020774" y="39222"/>
                    </a:cubicBezTo>
                    <a:cubicBezTo>
                      <a:pt x="1024126" y="41806"/>
                      <a:pt x="1036395" y="45731"/>
                      <a:pt x="1048040" y="47945"/>
                    </a:cubicBezTo>
                    <a:cubicBezTo>
                      <a:pt x="1090012" y="55925"/>
                      <a:pt x="1210053" y="115725"/>
                      <a:pt x="1284311" y="165647"/>
                    </a:cubicBezTo>
                    <a:cubicBezTo>
                      <a:pt x="1341397" y="204024"/>
                      <a:pt x="1437467" y="287541"/>
                      <a:pt x="1465649" y="323290"/>
                    </a:cubicBezTo>
                    <a:cubicBezTo>
                      <a:pt x="1475705" y="336046"/>
                      <a:pt x="1494158" y="357635"/>
                      <a:pt x="1506657" y="371266"/>
                    </a:cubicBezTo>
                    <a:cubicBezTo>
                      <a:pt x="1519155" y="384897"/>
                      <a:pt x="1530996" y="400848"/>
                      <a:pt x="1532968" y="406715"/>
                    </a:cubicBezTo>
                    <a:cubicBezTo>
                      <a:pt x="1534940" y="412580"/>
                      <a:pt x="1539111" y="417379"/>
                      <a:pt x="1542237" y="417379"/>
                    </a:cubicBezTo>
                    <a:cubicBezTo>
                      <a:pt x="1545363" y="417379"/>
                      <a:pt x="1547921" y="419809"/>
                      <a:pt x="1547921" y="422779"/>
                    </a:cubicBezTo>
                    <a:cubicBezTo>
                      <a:pt x="1547921" y="425748"/>
                      <a:pt x="1558890" y="444606"/>
                      <a:pt x="1572297" y="464683"/>
                    </a:cubicBezTo>
                    <a:cubicBezTo>
                      <a:pt x="1585704" y="484760"/>
                      <a:pt x="1596674" y="504269"/>
                      <a:pt x="1596674" y="508036"/>
                    </a:cubicBezTo>
                    <a:cubicBezTo>
                      <a:pt x="1596674" y="511804"/>
                      <a:pt x="1599416" y="514886"/>
                      <a:pt x="1602768" y="514886"/>
                    </a:cubicBezTo>
                    <a:cubicBezTo>
                      <a:pt x="1606119" y="514886"/>
                      <a:pt x="1608862" y="517356"/>
                      <a:pt x="1608862" y="520375"/>
                    </a:cubicBezTo>
                    <a:cubicBezTo>
                      <a:pt x="1608862" y="523394"/>
                      <a:pt x="1619420" y="548761"/>
                      <a:pt x="1632325" y="576746"/>
                    </a:cubicBezTo>
                    <a:cubicBezTo>
                      <a:pt x="1645229" y="604732"/>
                      <a:pt x="1660687" y="642711"/>
                      <a:pt x="1666675" y="661147"/>
                    </a:cubicBezTo>
                    <a:cubicBezTo>
                      <a:pt x="1672664" y="679581"/>
                      <a:pt x="1680006" y="700148"/>
                      <a:pt x="1682991" y="706852"/>
                    </a:cubicBezTo>
                    <a:cubicBezTo>
                      <a:pt x="1685975" y="713556"/>
                      <a:pt x="1690937" y="732753"/>
                      <a:pt x="1694018" y="749512"/>
                    </a:cubicBezTo>
                    <a:cubicBezTo>
                      <a:pt x="1697098" y="766271"/>
                      <a:pt x="1702637" y="793694"/>
                      <a:pt x="1706327" y="810453"/>
                    </a:cubicBezTo>
                    <a:cubicBezTo>
                      <a:pt x="1715186" y="850684"/>
                      <a:pt x="1715154" y="1105970"/>
                      <a:pt x="1706267" y="1145634"/>
                    </a:cubicBezTo>
                    <a:cubicBezTo>
                      <a:pt x="1702519" y="1162392"/>
                      <a:pt x="1697066" y="1188445"/>
                      <a:pt x="1694147" y="1203527"/>
                    </a:cubicBezTo>
                    <a:cubicBezTo>
                      <a:pt x="1688226" y="1234134"/>
                      <a:pt x="1675559" y="1276958"/>
                      <a:pt x="1664737" y="1302955"/>
                    </a:cubicBezTo>
                    <a:cubicBezTo>
                      <a:pt x="1660809" y="1312391"/>
                      <a:pt x="1657596" y="1322415"/>
                      <a:pt x="1657596" y="1325232"/>
                    </a:cubicBezTo>
                    <a:cubicBezTo>
                      <a:pt x="1657596" y="1328049"/>
                      <a:pt x="1652500" y="1340897"/>
                      <a:pt x="1646274" y="1353783"/>
                    </a:cubicBezTo>
                    <a:cubicBezTo>
                      <a:pt x="1602301" y="1444774"/>
                      <a:pt x="1592238" y="1464289"/>
                      <a:pt x="1579983" y="1482348"/>
                    </a:cubicBezTo>
                    <a:cubicBezTo>
                      <a:pt x="1572393" y="1493533"/>
                      <a:pt x="1566183" y="1505076"/>
                      <a:pt x="1566183" y="1508000"/>
                    </a:cubicBezTo>
                    <a:cubicBezTo>
                      <a:pt x="1566183" y="1510923"/>
                      <a:pt x="1564127" y="1514229"/>
                      <a:pt x="1561612" y="1515346"/>
                    </a:cubicBezTo>
                    <a:cubicBezTo>
                      <a:pt x="1559099" y="1516464"/>
                      <a:pt x="1547600" y="1531090"/>
                      <a:pt x="1536059" y="1547849"/>
                    </a:cubicBezTo>
                    <a:cubicBezTo>
                      <a:pt x="1524518" y="1564607"/>
                      <a:pt x="1508750" y="1584359"/>
                      <a:pt x="1501018" y="1591740"/>
                    </a:cubicBezTo>
                    <a:cubicBezTo>
                      <a:pt x="1493285" y="1599122"/>
                      <a:pt x="1486959" y="1607376"/>
                      <a:pt x="1486959" y="1610083"/>
                    </a:cubicBezTo>
                    <a:cubicBezTo>
                      <a:pt x="1486959" y="1616185"/>
                      <a:pt x="649930" y="2453396"/>
                      <a:pt x="645859" y="2451366"/>
                    </a:cubicBezTo>
                    <a:cubicBezTo>
                      <a:pt x="644240" y="2450559"/>
                      <a:pt x="500459" y="2449163"/>
                      <a:pt x="326344" y="2448264"/>
                    </a:cubicBezTo>
                    <a:lnTo>
                      <a:pt x="326363" y="2448263"/>
                    </a:lnTo>
                    <a:cubicBezTo>
                      <a:pt x="82450" y="2447004"/>
                      <a:pt x="8690" y="2444893"/>
                      <a:pt x="4989" y="2439067"/>
                    </a:cubicBezTo>
                    <a:cubicBezTo>
                      <a:pt x="2347" y="2434907"/>
                      <a:pt x="144" y="1958657"/>
                      <a:pt x="93" y="1380732"/>
                    </a:cubicBezTo>
                    <a:lnTo>
                      <a:pt x="0" y="329959"/>
                    </a:lnTo>
                    <a:lnTo>
                      <a:pt x="41136" y="289770"/>
                    </a:lnTo>
                    <a:cubicBezTo>
                      <a:pt x="101401" y="230892"/>
                      <a:pt x="170994" y="173612"/>
                      <a:pt x="182263" y="173612"/>
                    </a:cubicBezTo>
                    <a:cubicBezTo>
                      <a:pt x="185924" y="173612"/>
                      <a:pt x="188919" y="171461"/>
                      <a:pt x="188919" y="168832"/>
                    </a:cubicBezTo>
                    <a:cubicBezTo>
                      <a:pt x="188919" y="166203"/>
                      <a:pt x="197831" y="158867"/>
                      <a:pt x="208725" y="152532"/>
                    </a:cubicBezTo>
                    <a:cubicBezTo>
                      <a:pt x="219619" y="146196"/>
                      <a:pt x="229903" y="139314"/>
                      <a:pt x="231578" y="137239"/>
                    </a:cubicBezTo>
                    <a:cubicBezTo>
                      <a:pt x="233254" y="135164"/>
                      <a:pt x="267534" y="117666"/>
                      <a:pt x="307756" y="98355"/>
                    </a:cubicBezTo>
                    <a:cubicBezTo>
                      <a:pt x="347977" y="79043"/>
                      <a:pt x="385348" y="60840"/>
                      <a:pt x="390800" y="57903"/>
                    </a:cubicBezTo>
                    <a:cubicBezTo>
                      <a:pt x="396253" y="54966"/>
                      <a:pt x="411336" y="50646"/>
                      <a:pt x="424318" y="48304"/>
                    </a:cubicBezTo>
                    <a:cubicBezTo>
                      <a:pt x="437300" y="45962"/>
                      <a:pt x="450664" y="41903"/>
                      <a:pt x="454016" y="39286"/>
                    </a:cubicBezTo>
                    <a:cubicBezTo>
                      <a:pt x="457367" y="36667"/>
                      <a:pt x="473822" y="31808"/>
                      <a:pt x="490581" y="28486"/>
                    </a:cubicBezTo>
                    <a:cubicBezTo>
                      <a:pt x="507340" y="25165"/>
                      <a:pt x="537506" y="17656"/>
                      <a:pt x="557617" y="11800"/>
                    </a:cubicBezTo>
                    <a:cubicBezTo>
                      <a:pt x="584551" y="3958"/>
                      <a:pt x="661111" y="20"/>
                      <a:pt x="737602" y="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4E5758D2-B7E6-405D-8DBF-2914261D93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75340" y="761102"/>
                <a:ext cx="1950105" cy="1952131"/>
              </a:xfrm>
              <a:custGeom>
                <a:avLst/>
                <a:gdLst>
                  <a:gd name="connsiteX0" fmla="*/ 1939610 w 1950105"/>
                  <a:gd name="connsiteY0" fmla="*/ 0 h 1952131"/>
                  <a:gd name="connsiteX1" fmla="*/ 1950105 w 1950105"/>
                  <a:gd name="connsiteY1" fmla="*/ 972212 h 1952131"/>
                  <a:gd name="connsiteX2" fmla="*/ 1942487 w 1950105"/>
                  <a:gd name="connsiteY2" fmla="*/ 1947271 h 1952131"/>
                  <a:gd name="connsiteX3" fmla="*/ 2507 w 1950105"/>
                  <a:gd name="connsiteY3" fmla="*/ 1950644 h 1952131"/>
                  <a:gd name="connsiteX4" fmla="*/ 1 w 1950105"/>
                  <a:gd name="connsiteY4" fmla="*/ 1938455 h 1952131"/>
                  <a:gd name="connsiteX5" fmla="*/ 1939610 w 1950105"/>
                  <a:gd name="connsiteY5" fmla="*/ 0 h 1952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0105" h="1952131">
                    <a:moveTo>
                      <a:pt x="1939610" y="0"/>
                    </a:moveTo>
                    <a:cubicBezTo>
                      <a:pt x="1949496" y="0"/>
                      <a:pt x="1950105" y="56363"/>
                      <a:pt x="1950105" y="972212"/>
                    </a:cubicBezTo>
                    <a:cubicBezTo>
                      <a:pt x="1950105" y="1744401"/>
                      <a:pt x="1948538" y="1945010"/>
                      <a:pt x="1942487" y="1947271"/>
                    </a:cubicBezTo>
                    <a:cubicBezTo>
                      <a:pt x="1933037" y="1950804"/>
                      <a:pt x="6016" y="1954154"/>
                      <a:pt x="2507" y="1950644"/>
                    </a:cubicBezTo>
                    <a:cubicBezTo>
                      <a:pt x="1110" y="1949248"/>
                      <a:pt x="-18" y="1943763"/>
                      <a:pt x="1" y="1938455"/>
                    </a:cubicBezTo>
                    <a:cubicBezTo>
                      <a:pt x="62" y="1925249"/>
                      <a:pt x="1926440" y="0"/>
                      <a:pt x="1939610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A75370E3-7989-40C1-8F3B-DBA0161DA9B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7837089" y="1678276"/>
                <a:ext cx="2184431" cy="2152034"/>
              </a:xfrm>
              <a:custGeom>
                <a:avLst/>
                <a:gdLst>
                  <a:gd name="connsiteX0" fmla="*/ 2184431 w 2184431"/>
                  <a:gd name="connsiteY0" fmla="*/ 0 h 2152034"/>
                  <a:gd name="connsiteX1" fmla="*/ 2184431 w 2184431"/>
                  <a:gd name="connsiteY1" fmla="*/ 1075622 h 2152034"/>
                  <a:gd name="connsiteX2" fmla="*/ 2184431 w 2184431"/>
                  <a:gd name="connsiteY2" fmla="*/ 2151244 h 2152034"/>
                  <a:gd name="connsiteX3" fmla="*/ 1584154 w 2184431"/>
                  <a:gd name="connsiteY3" fmla="*/ 2151983 h 2152034"/>
                  <a:gd name="connsiteX4" fmla="*/ 950361 w 2184431"/>
                  <a:gd name="connsiteY4" fmla="*/ 2147153 h 2152034"/>
                  <a:gd name="connsiteX5" fmla="*/ 950362 w 2184431"/>
                  <a:gd name="connsiteY5" fmla="*/ 2147153 h 2152034"/>
                  <a:gd name="connsiteX6" fmla="*/ 801055 w 2184431"/>
                  <a:gd name="connsiteY6" fmla="*/ 2117829 h 2152034"/>
                  <a:gd name="connsiteX7" fmla="*/ 768794 w 2184431"/>
                  <a:gd name="connsiteY7" fmla="*/ 2109303 h 2152034"/>
                  <a:gd name="connsiteX8" fmla="*/ 732229 w 2184431"/>
                  <a:gd name="connsiteY8" fmla="*/ 2099949 h 2152034"/>
                  <a:gd name="connsiteX9" fmla="*/ 676123 w 2184431"/>
                  <a:gd name="connsiteY9" fmla="*/ 2077771 h 2152034"/>
                  <a:gd name="connsiteX10" fmla="*/ 476956 w 2184431"/>
                  <a:gd name="connsiteY10" fmla="*/ 1972835 h 2152034"/>
                  <a:gd name="connsiteX11" fmla="*/ 411998 w 2184431"/>
                  <a:gd name="connsiteY11" fmla="*/ 1930683 h 2152034"/>
                  <a:gd name="connsiteX12" fmla="*/ 208178 w 2184431"/>
                  <a:gd name="connsiteY12" fmla="*/ 1724647 h 2152034"/>
                  <a:gd name="connsiteX13" fmla="*/ 187067 w 2184431"/>
                  <a:gd name="connsiteY13" fmla="*/ 1696106 h 2152034"/>
                  <a:gd name="connsiteX14" fmla="*/ 170308 w 2184431"/>
                  <a:gd name="connsiteY14" fmla="*/ 1670824 h 2152034"/>
                  <a:gd name="connsiteX15" fmla="*/ 150443 w 2184431"/>
                  <a:gd name="connsiteY15" fmla="*/ 1638423 h 2152034"/>
                  <a:gd name="connsiteX16" fmla="*/ 64464 w 2184431"/>
                  <a:gd name="connsiteY16" fmla="*/ 1470822 h 2152034"/>
                  <a:gd name="connsiteX17" fmla="*/ 54518 w 2184431"/>
                  <a:gd name="connsiteY17" fmla="*/ 1432735 h 2152034"/>
                  <a:gd name="connsiteX18" fmla="*/ 48700 w 2184431"/>
                  <a:gd name="connsiteY18" fmla="*/ 1416896 h 2152034"/>
                  <a:gd name="connsiteX19" fmla="*/ 38926 w 2184431"/>
                  <a:gd name="connsiteY19" fmla="*/ 1394044 h 2152034"/>
                  <a:gd name="connsiteX20" fmla="*/ 25602 w 2184431"/>
                  <a:gd name="connsiteY20" fmla="*/ 1343766 h 2152034"/>
                  <a:gd name="connsiteX21" fmla="*/ 26121 w 2184431"/>
                  <a:gd name="connsiteY21" fmla="*/ 807478 h 2152034"/>
                  <a:gd name="connsiteX22" fmla="*/ 36183 w 2184431"/>
                  <a:gd name="connsiteY22" fmla="*/ 767867 h 2152034"/>
                  <a:gd name="connsiteX23" fmla="*/ 45413 w 2184431"/>
                  <a:gd name="connsiteY23" fmla="*/ 738222 h 2152034"/>
                  <a:gd name="connsiteX24" fmla="*/ 54517 w 2184431"/>
                  <a:gd name="connsiteY24" fmla="*/ 711720 h 2152034"/>
                  <a:gd name="connsiteX25" fmla="*/ 142783 w 2184431"/>
                  <a:gd name="connsiteY25" fmla="*/ 524522 h 2152034"/>
                  <a:gd name="connsiteX26" fmla="*/ 160705 w 2184431"/>
                  <a:gd name="connsiteY26" fmla="*/ 496564 h 2152034"/>
                  <a:gd name="connsiteX27" fmla="*/ 175998 w 2184431"/>
                  <a:gd name="connsiteY27" fmla="*/ 472299 h 2152034"/>
                  <a:gd name="connsiteX28" fmla="*/ 196073 w 2184431"/>
                  <a:gd name="connsiteY28" fmla="*/ 443768 h 2152034"/>
                  <a:gd name="connsiteX29" fmla="*/ 283274 w 2184431"/>
                  <a:gd name="connsiteY29" fmla="*/ 337688 h 2152034"/>
                  <a:gd name="connsiteX30" fmla="*/ 435671 w 2184431"/>
                  <a:gd name="connsiteY30" fmla="*/ 204469 h 2152034"/>
                  <a:gd name="connsiteX31" fmla="*/ 468921 w 2184431"/>
                  <a:gd name="connsiteY31" fmla="*/ 179786 h 2152034"/>
                  <a:gd name="connsiteX32" fmla="*/ 541634 w 2184431"/>
                  <a:gd name="connsiteY32" fmla="*/ 137120 h 2152034"/>
                  <a:gd name="connsiteX33" fmla="*/ 549160 w 2184431"/>
                  <a:gd name="connsiteY33" fmla="*/ 132549 h 2152034"/>
                  <a:gd name="connsiteX34" fmla="*/ 683654 w 2184431"/>
                  <a:gd name="connsiteY34" fmla="*/ 70083 h 2152034"/>
                  <a:gd name="connsiteX35" fmla="*/ 697757 w 2184431"/>
                  <a:gd name="connsiteY35" fmla="*/ 64559 h 2152034"/>
                  <a:gd name="connsiteX36" fmla="*/ 831524 w 2184431"/>
                  <a:gd name="connsiteY36" fmla="*/ 23453 h 2152034"/>
                  <a:gd name="connsiteX37" fmla="*/ 1581108 w 2184431"/>
                  <a:gd name="connsiteY37" fmla="*/ 111 h 2152034"/>
                  <a:gd name="connsiteX38" fmla="*/ 2184431 w 2184431"/>
                  <a:gd name="connsiteY38" fmla="*/ 0 h 2152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184431" h="2152034">
                    <a:moveTo>
                      <a:pt x="2184431" y="0"/>
                    </a:moveTo>
                    <a:lnTo>
                      <a:pt x="2184431" y="1075622"/>
                    </a:lnTo>
                    <a:lnTo>
                      <a:pt x="2184431" y="2151244"/>
                    </a:lnTo>
                    <a:lnTo>
                      <a:pt x="1584154" y="2151983"/>
                    </a:lnTo>
                    <a:cubicBezTo>
                      <a:pt x="1246349" y="2152397"/>
                      <a:pt x="969223" y="2150285"/>
                      <a:pt x="950361" y="2147153"/>
                    </a:cubicBezTo>
                    <a:lnTo>
                      <a:pt x="950362" y="2147153"/>
                    </a:lnTo>
                    <a:cubicBezTo>
                      <a:pt x="851495" y="2130729"/>
                      <a:pt x="806521" y="2121896"/>
                      <a:pt x="801055" y="2117829"/>
                    </a:cubicBezTo>
                    <a:cubicBezTo>
                      <a:pt x="797702" y="2115336"/>
                      <a:pt x="783185" y="2111499"/>
                      <a:pt x="768794" y="2109303"/>
                    </a:cubicBezTo>
                    <a:cubicBezTo>
                      <a:pt x="754402" y="2107105"/>
                      <a:pt x="737948" y="2102897"/>
                      <a:pt x="732229" y="2099949"/>
                    </a:cubicBezTo>
                    <a:cubicBezTo>
                      <a:pt x="726509" y="2097001"/>
                      <a:pt x="701263" y="2087021"/>
                      <a:pt x="676123" y="2077771"/>
                    </a:cubicBezTo>
                    <a:cubicBezTo>
                      <a:pt x="616551" y="2055853"/>
                      <a:pt x="541531" y="2016326"/>
                      <a:pt x="476956" y="1972835"/>
                    </a:cubicBezTo>
                    <a:cubicBezTo>
                      <a:pt x="448467" y="1953647"/>
                      <a:pt x="419236" y="1934679"/>
                      <a:pt x="411998" y="1930683"/>
                    </a:cubicBezTo>
                    <a:cubicBezTo>
                      <a:pt x="384677" y="1915601"/>
                      <a:pt x="240285" y="1769639"/>
                      <a:pt x="208178" y="1724647"/>
                    </a:cubicBezTo>
                    <a:cubicBezTo>
                      <a:pt x="205784" y="1721292"/>
                      <a:pt x="196284" y="1708449"/>
                      <a:pt x="187067" y="1696106"/>
                    </a:cubicBezTo>
                    <a:cubicBezTo>
                      <a:pt x="177848" y="1683763"/>
                      <a:pt x="170308" y="1672386"/>
                      <a:pt x="170308" y="1670824"/>
                    </a:cubicBezTo>
                    <a:cubicBezTo>
                      <a:pt x="170308" y="1669260"/>
                      <a:pt x="161368" y="1654680"/>
                      <a:pt x="150443" y="1638423"/>
                    </a:cubicBezTo>
                    <a:cubicBezTo>
                      <a:pt x="132813" y="1612189"/>
                      <a:pt x="92699" y="1533993"/>
                      <a:pt x="64464" y="1470822"/>
                    </a:cubicBezTo>
                    <a:cubicBezTo>
                      <a:pt x="58993" y="1458585"/>
                      <a:pt x="54518" y="1441445"/>
                      <a:pt x="54518" y="1432735"/>
                    </a:cubicBezTo>
                    <a:cubicBezTo>
                      <a:pt x="54518" y="1424024"/>
                      <a:pt x="51900" y="1416896"/>
                      <a:pt x="48700" y="1416896"/>
                    </a:cubicBezTo>
                    <a:cubicBezTo>
                      <a:pt x="45500" y="1416896"/>
                      <a:pt x="41101" y="1406613"/>
                      <a:pt x="38926" y="1394044"/>
                    </a:cubicBezTo>
                    <a:cubicBezTo>
                      <a:pt x="36750" y="1381474"/>
                      <a:pt x="30754" y="1358849"/>
                      <a:pt x="25602" y="1343766"/>
                    </a:cubicBezTo>
                    <a:cubicBezTo>
                      <a:pt x="-8785" y="1243105"/>
                      <a:pt x="-8454" y="902906"/>
                      <a:pt x="26121" y="807478"/>
                    </a:cubicBezTo>
                    <a:cubicBezTo>
                      <a:pt x="31585" y="792396"/>
                      <a:pt x="36113" y="774570"/>
                      <a:pt x="36183" y="767867"/>
                    </a:cubicBezTo>
                    <a:cubicBezTo>
                      <a:pt x="36249" y="761163"/>
                      <a:pt x="40406" y="747824"/>
                      <a:pt x="45413" y="738222"/>
                    </a:cubicBezTo>
                    <a:cubicBezTo>
                      <a:pt x="50419" y="728622"/>
                      <a:pt x="54517" y="716696"/>
                      <a:pt x="54517" y="711720"/>
                    </a:cubicBezTo>
                    <a:cubicBezTo>
                      <a:pt x="54517" y="696968"/>
                      <a:pt x="128496" y="540071"/>
                      <a:pt x="142783" y="524522"/>
                    </a:cubicBezTo>
                    <a:cubicBezTo>
                      <a:pt x="146189" y="520815"/>
                      <a:pt x="154254" y="508234"/>
                      <a:pt x="160705" y="496564"/>
                    </a:cubicBezTo>
                    <a:cubicBezTo>
                      <a:pt x="167157" y="484894"/>
                      <a:pt x="174038" y="473976"/>
                      <a:pt x="175998" y="472299"/>
                    </a:cubicBezTo>
                    <a:cubicBezTo>
                      <a:pt x="177958" y="470623"/>
                      <a:pt x="186992" y="457784"/>
                      <a:pt x="196073" y="443768"/>
                    </a:cubicBezTo>
                    <a:cubicBezTo>
                      <a:pt x="211105" y="420571"/>
                      <a:pt x="230605" y="396850"/>
                      <a:pt x="283274" y="337688"/>
                    </a:cubicBezTo>
                    <a:cubicBezTo>
                      <a:pt x="320359" y="296033"/>
                      <a:pt x="383861" y="240522"/>
                      <a:pt x="435671" y="204469"/>
                    </a:cubicBezTo>
                    <a:cubicBezTo>
                      <a:pt x="452282" y="192910"/>
                      <a:pt x="467244" y="181803"/>
                      <a:pt x="468921" y="179786"/>
                    </a:cubicBezTo>
                    <a:cubicBezTo>
                      <a:pt x="474325" y="173284"/>
                      <a:pt x="535956" y="137120"/>
                      <a:pt x="541634" y="137120"/>
                    </a:cubicBezTo>
                    <a:cubicBezTo>
                      <a:pt x="544656" y="137120"/>
                      <a:pt x="548042" y="135063"/>
                      <a:pt x="549160" y="132549"/>
                    </a:cubicBezTo>
                    <a:cubicBezTo>
                      <a:pt x="552633" y="124734"/>
                      <a:pt x="670303" y="70083"/>
                      <a:pt x="683654" y="70083"/>
                    </a:cubicBezTo>
                    <a:cubicBezTo>
                      <a:pt x="688226" y="70083"/>
                      <a:pt x="694573" y="67598"/>
                      <a:pt x="697757" y="64559"/>
                    </a:cubicBezTo>
                    <a:cubicBezTo>
                      <a:pt x="705815" y="56871"/>
                      <a:pt x="780380" y="33958"/>
                      <a:pt x="831524" y="23453"/>
                    </a:cubicBezTo>
                    <a:cubicBezTo>
                      <a:pt x="940225" y="1129"/>
                      <a:pt x="969242" y="224"/>
                      <a:pt x="1581108" y="111"/>
                    </a:cubicBezTo>
                    <a:lnTo>
                      <a:pt x="2184431" y="0"/>
                    </a:ln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E287E65B-1673-417F-8C88-6616FF5925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869688"/>
                <a:ext cx="1674822" cy="2401637"/>
              </a:xfrm>
              <a:custGeom>
                <a:avLst/>
                <a:gdLst>
                  <a:gd name="connsiteX0" fmla="*/ 334458 w 1674822"/>
                  <a:gd name="connsiteY0" fmla="*/ 0 h 2401637"/>
                  <a:gd name="connsiteX1" fmla="*/ 661517 w 1674822"/>
                  <a:gd name="connsiteY1" fmla="*/ 0 h 2401637"/>
                  <a:gd name="connsiteX2" fmla="*/ 1060842 w 1674822"/>
                  <a:gd name="connsiteY2" fmla="*/ 400693 h 2401637"/>
                  <a:gd name="connsiteX3" fmla="*/ 1497894 w 1674822"/>
                  <a:gd name="connsiteY3" fmla="*/ 856232 h 2401637"/>
                  <a:gd name="connsiteX4" fmla="*/ 1540442 w 1674822"/>
                  <a:gd name="connsiteY4" fmla="*/ 917174 h 2401637"/>
                  <a:gd name="connsiteX5" fmla="*/ 1608900 w 1674822"/>
                  <a:gd name="connsiteY5" fmla="*/ 1056276 h 2401637"/>
                  <a:gd name="connsiteX6" fmla="*/ 1616809 w 1674822"/>
                  <a:gd name="connsiteY6" fmla="*/ 1078669 h 2401637"/>
                  <a:gd name="connsiteX7" fmla="*/ 1667002 w 1674822"/>
                  <a:gd name="connsiteY7" fmla="*/ 1267588 h 2401637"/>
                  <a:gd name="connsiteX8" fmla="*/ 1661895 w 1674822"/>
                  <a:gd name="connsiteY8" fmla="*/ 1599721 h 2401637"/>
                  <a:gd name="connsiteX9" fmla="*/ 1621485 w 1674822"/>
                  <a:gd name="connsiteY9" fmla="*/ 1745847 h 2401637"/>
                  <a:gd name="connsiteX10" fmla="*/ 1612593 w 1674822"/>
                  <a:gd name="connsiteY10" fmla="*/ 1768994 h 2401637"/>
                  <a:gd name="connsiteX11" fmla="*/ 1519716 w 1674822"/>
                  <a:gd name="connsiteY11" fmla="*/ 1950616 h 2401637"/>
                  <a:gd name="connsiteX12" fmla="*/ 1511356 w 1674822"/>
                  <a:gd name="connsiteY12" fmla="*/ 1966029 h 2401637"/>
                  <a:gd name="connsiteX13" fmla="*/ 1499167 w 1674822"/>
                  <a:gd name="connsiteY13" fmla="*/ 1980607 h 2401637"/>
                  <a:gd name="connsiteX14" fmla="*/ 1486979 w 1674822"/>
                  <a:gd name="connsiteY14" fmla="*/ 1996172 h 2401637"/>
                  <a:gd name="connsiteX15" fmla="*/ 1468866 w 1674822"/>
                  <a:gd name="connsiteY15" fmla="*/ 2020727 h 2401637"/>
                  <a:gd name="connsiteX16" fmla="*/ 1450584 w 1674822"/>
                  <a:gd name="connsiteY16" fmla="*/ 2043594 h 2401637"/>
                  <a:gd name="connsiteX17" fmla="*/ 1261346 w 1674822"/>
                  <a:gd name="connsiteY17" fmla="*/ 2218281 h 2401637"/>
                  <a:gd name="connsiteX18" fmla="*/ 1231652 w 1674822"/>
                  <a:gd name="connsiteY18" fmla="*/ 2239609 h 2401637"/>
                  <a:gd name="connsiteX19" fmla="*/ 1203551 w 1674822"/>
                  <a:gd name="connsiteY19" fmla="*/ 2259149 h 2401637"/>
                  <a:gd name="connsiteX20" fmla="*/ 1048199 w 1674822"/>
                  <a:gd name="connsiteY20" fmla="*/ 2335604 h 2401637"/>
                  <a:gd name="connsiteX21" fmla="*/ 1022164 w 1674822"/>
                  <a:gd name="connsiteY21" fmla="*/ 2347104 h 2401637"/>
                  <a:gd name="connsiteX22" fmla="*/ 984076 w 1674822"/>
                  <a:gd name="connsiteY22" fmla="*/ 2356362 h 2401637"/>
                  <a:gd name="connsiteX23" fmla="*/ 956786 w 1674822"/>
                  <a:gd name="connsiteY23" fmla="*/ 2364468 h 2401637"/>
                  <a:gd name="connsiteX24" fmla="*/ 918697 w 1674822"/>
                  <a:gd name="connsiteY24" fmla="*/ 2375702 h 2401637"/>
                  <a:gd name="connsiteX25" fmla="*/ 831855 w 1674822"/>
                  <a:gd name="connsiteY25" fmla="*/ 2391717 h 2401637"/>
                  <a:gd name="connsiteX26" fmla="*/ 584314 w 1674822"/>
                  <a:gd name="connsiteY26" fmla="*/ 2398347 h 2401637"/>
                  <a:gd name="connsiteX27" fmla="*/ 548257 w 1674822"/>
                  <a:gd name="connsiteY27" fmla="*/ 2389771 h 2401637"/>
                  <a:gd name="connsiteX28" fmla="*/ 429639 w 1674822"/>
                  <a:gd name="connsiteY28" fmla="*/ 2364568 h 2401637"/>
                  <a:gd name="connsiteX29" fmla="*/ 399169 w 1674822"/>
                  <a:gd name="connsiteY29" fmla="*/ 2355648 h 2401637"/>
                  <a:gd name="connsiteX30" fmla="*/ 368697 w 1674822"/>
                  <a:gd name="connsiteY30" fmla="*/ 2346569 h 2401637"/>
                  <a:gd name="connsiteX31" fmla="*/ 332132 w 1674822"/>
                  <a:gd name="connsiteY31" fmla="*/ 2330684 h 2401637"/>
                  <a:gd name="connsiteX32" fmla="*/ 115851 w 1674822"/>
                  <a:gd name="connsiteY32" fmla="*/ 2207777 h 2401637"/>
                  <a:gd name="connsiteX33" fmla="*/ 96231 w 1674822"/>
                  <a:gd name="connsiteY33" fmla="*/ 2193904 h 2401637"/>
                  <a:gd name="connsiteX34" fmla="*/ 11074 w 1674822"/>
                  <a:gd name="connsiteY34" fmla="*/ 2119250 h 2401637"/>
                  <a:gd name="connsiteX35" fmla="*/ 0 w 1674822"/>
                  <a:gd name="connsiteY35" fmla="*/ 1063932 h 2401637"/>
                  <a:gd name="connsiteX36" fmla="*/ 3699 w 1674822"/>
                  <a:gd name="connsiteY36" fmla="*/ 9640 h 2401637"/>
                  <a:gd name="connsiteX37" fmla="*/ 334458 w 1674822"/>
                  <a:gd name="connsiteY37" fmla="*/ 0 h 240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674822" h="2401637">
                    <a:moveTo>
                      <a:pt x="334458" y="0"/>
                    </a:moveTo>
                    <a:lnTo>
                      <a:pt x="661517" y="0"/>
                    </a:lnTo>
                    <a:lnTo>
                      <a:pt x="1060842" y="400693"/>
                    </a:lnTo>
                    <a:cubicBezTo>
                      <a:pt x="1379844" y="720785"/>
                      <a:pt x="1467756" y="812417"/>
                      <a:pt x="1497894" y="856232"/>
                    </a:cubicBezTo>
                    <a:cubicBezTo>
                      <a:pt x="1518645" y="886398"/>
                      <a:pt x="1537791" y="913822"/>
                      <a:pt x="1540442" y="917174"/>
                    </a:cubicBezTo>
                    <a:cubicBezTo>
                      <a:pt x="1549627" y="928788"/>
                      <a:pt x="1608862" y="1049150"/>
                      <a:pt x="1608900" y="1056276"/>
                    </a:cubicBezTo>
                    <a:cubicBezTo>
                      <a:pt x="1608900" y="1060212"/>
                      <a:pt x="1612479" y="1070290"/>
                      <a:pt x="1616809" y="1078669"/>
                    </a:cubicBezTo>
                    <a:cubicBezTo>
                      <a:pt x="1629117" y="1102494"/>
                      <a:pt x="1656040" y="1203824"/>
                      <a:pt x="1667002" y="1267588"/>
                    </a:cubicBezTo>
                    <a:cubicBezTo>
                      <a:pt x="1679415" y="1339780"/>
                      <a:pt x="1676564" y="1525140"/>
                      <a:pt x="1661895" y="1599721"/>
                    </a:cubicBezTo>
                    <a:cubicBezTo>
                      <a:pt x="1650756" y="1656366"/>
                      <a:pt x="1628504" y="1736827"/>
                      <a:pt x="1621485" y="1745847"/>
                    </a:cubicBezTo>
                    <a:cubicBezTo>
                      <a:pt x="1618818" y="1749272"/>
                      <a:pt x="1614818" y="1759689"/>
                      <a:pt x="1612593" y="1768994"/>
                    </a:cubicBezTo>
                    <a:cubicBezTo>
                      <a:pt x="1605780" y="1797501"/>
                      <a:pt x="1538586" y="1928900"/>
                      <a:pt x="1519716" y="1950616"/>
                    </a:cubicBezTo>
                    <a:cubicBezTo>
                      <a:pt x="1515118" y="1955908"/>
                      <a:pt x="1511356" y="1962844"/>
                      <a:pt x="1511356" y="1966029"/>
                    </a:cubicBezTo>
                    <a:cubicBezTo>
                      <a:pt x="1511356" y="1969216"/>
                      <a:pt x="1505871" y="1975776"/>
                      <a:pt x="1499167" y="1980607"/>
                    </a:cubicBezTo>
                    <a:cubicBezTo>
                      <a:pt x="1492464" y="1985439"/>
                      <a:pt x="1486979" y="1992443"/>
                      <a:pt x="1486979" y="1996172"/>
                    </a:cubicBezTo>
                    <a:cubicBezTo>
                      <a:pt x="1486979" y="1999902"/>
                      <a:pt x="1478828" y="2010951"/>
                      <a:pt x="1468866" y="2020727"/>
                    </a:cubicBezTo>
                    <a:cubicBezTo>
                      <a:pt x="1458903" y="2030503"/>
                      <a:pt x="1450676" y="2040793"/>
                      <a:pt x="1450584" y="2043594"/>
                    </a:cubicBezTo>
                    <a:cubicBezTo>
                      <a:pt x="1450149" y="2056666"/>
                      <a:pt x="1310538" y="2185541"/>
                      <a:pt x="1261346" y="2218281"/>
                    </a:cubicBezTo>
                    <a:cubicBezTo>
                      <a:pt x="1253791" y="2223308"/>
                      <a:pt x="1240429" y="2232906"/>
                      <a:pt x="1231652" y="2239609"/>
                    </a:cubicBezTo>
                    <a:cubicBezTo>
                      <a:pt x="1222873" y="2246313"/>
                      <a:pt x="1210228" y="2255106"/>
                      <a:pt x="1203551" y="2259149"/>
                    </a:cubicBezTo>
                    <a:cubicBezTo>
                      <a:pt x="1186982" y="2269182"/>
                      <a:pt x="1067068" y="2328195"/>
                      <a:pt x="1048199" y="2335604"/>
                    </a:cubicBezTo>
                    <a:cubicBezTo>
                      <a:pt x="1039818" y="2338894"/>
                      <a:pt x="1028104" y="2344069"/>
                      <a:pt x="1022164" y="2347104"/>
                    </a:cubicBezTo>
                    <a:cubicBezTo>
                      <a:pt x="1016225" y="2350138"/>
                      <a:pt x="999086" y="2354304"/>
                      <a:pt x="984076" y="2356362"/>
                    </a:cubicBezTo>
                    <a:cubicBezTo>
                      <a:pt x="969066" y="2358420"/>
                      <a:pt x="956786" y="2362067"/>
                      <a:pt x="956786" y="2364468"/>
                    </a:cubicBezTo>
                    <a:cubicBezTo>
                      <a:pt x="956786" y="2366869"/>
                      <a:pt x="939646" y="2371923"/>
                      <a:pt x="918697" y="2375702"/>
                    </a:cubicBezTo>
                    <a:cubicBezTo>
                      <a:pt x="897749" y="2379479"/>
                      <a:pt x="858669" y="2386686"/>
                      <a:pt x="831855" y="2391717"/>
                    </a:cubicBezTo>
                    <a:cubicBezTo>
                      <a:pt x="786871" y="2400158"/>
                      <a:pt x="591361" y="2405394"/>
                      <a:pt x="584314" y="2398347"/>
                    </a:cubicBezTo>
                    <a:cubicBezTo>
                      <a:pt x="582797" y="2396830"/>
                      <a:pt x="566571" y="2392971"/>
                      <a:pt x="548257" y="2389771"/>
                    </a:cubicBezTo>
                    <a:cubicBezTo>
                      <a:pt x="468129" y="2375769"/>
                      <a:pt x="435331" y="2368800"/>
                      <a:pt x="429639" y="2364568"/>
                    </a:cubicBezTo>
                    <a:cubicBezTo>
                      <a:pt x="426287" y="2362074"/>
                      <a:pt x="412576" y="2358061"/>
                      <a:pt x="399169" y="2355648"/>
                    </a:cubicBezTo>
                    <a:cubicBezTo>
                      <a:pt x="385761" y="2353236"/>
                      <a:pt x="372049" y="2349150"/>
                      <a:pt x="368697" y="2346569"/>
                    </a:cubicBezTo>
                    <a:cubicBezTo>
                      <a:pt x="365345" y="2343987"/>
                      <a:pt x="348892" y="2336840"/>
                      <a:pt x="332132" y="2330684"/>
                    </a:cubicBezTo>
                    <a:cubicBezTo>
                      <a:pt x="273392" y="2309108"/>
                      <a:pt x="149959" y="2238964"/>
                      <a:pt x="115851" y="2207777"/>
                    </a:cubicBezTo>
                    <a:cubicBezTo>
                      <a:pt x="107506" y="2200146"/>
                      <a:pt x="98676" y="2193904"/>
                      <a:pt x="96231" y="2193904"/>
                    </a:cubicBezTo>
                    <a:cubicBezTo>
                      <a:pt x="92440" y="2193904"/>
                      <a:pt x="49554" y="2156307"/>
                      <a:pt x="11074" y="2119250"/>
                    </a:cubicBezTo>
                    <a:cubicBezTo>
                      <a:pt x="455" y="2109024"/>
                      <a:pt x="0" y="2065581"/>
                      <a:pt x="0" y="1063932"/>
                    </a:cubicBezTo>
                    <a:cubicBezTo>
                      <a:pt x="0" y="489373"/>
                      <a:pt x="1664" y="14942"/>
                      <a:pt x="3699" y="9640"/>
                    </a:cubicBezTo>
                    <a:cubicBezTo>
                      <a:pt x="7009" y="1016"/>
                      <a:pt x="41844" y="0"/>
                      <a:pt x="334458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2BFBB5D-A006-4A12-A25A-F73964CA6F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69277" y="2870729"/>
                <a:ext cx="1942794" cy="1949095"/>
              </a:xfrm>
              <a:custGeom>
                <a:avLst/>
                <a:gdLst>
                  <a:gd name="connsiteX0" fmla="*/ 479067 w 1942794"/>
                  <a:gd name="connsiteY0" fmla="*/ 4 h 1949095"/>
                  <a:gd name="connsiteX1" fmla="*/ 970497 w 1942794"/>
                  <a:gd name="connsiteY1" fmla="*/ 464 h 1949095"/>
                  <a:gd name="connsiteX2" fmla="*/ 1940995 w 1942794"/>
                  <a:gd name="connsiteY2" fmla="*/ 2005 h 1949095"/>
                  <a:gd name="connsiteX3" fmla="*/ 1942538 w 1942794"/>
                  <a:gd name="connsiteY3" fmla="*/ 975550 h 1949095"/>
                  <a:gd name="connsiteX4" fmla="*/ 1938535 w 1942794"/>
                  <a:gd name="connsiteY4" fmla="*/ 1949095 h 1949095"/>
                  <a:gd name="connsiteX5" fmla="*/ 966494 w 1942794"/>
                  <a:gd name="connsiteY5" fmla="*/ 982133 h 1949095"/>
                  <a:gd name="connsiteX6" fmla="*/ 0 w 1942794"/>
                  <a:gd name="connsiteY6" fmla="*/ 7046 h 1949095"/>
                  <a:gd name="connsiteX7" fmla="*/ 479067 w 1942794"/>
                  <a:gd name="connsiteY7" fmla="*/ 4 h 1949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42794" h="1949095">
                    <a:moveTo>
                      <a:pt x="479067" y="4"/>
                    </a:moveTo>
                    <a:cubicBezTo>
                      <a:pt x="607806" y="-26"/>
                      <a:pt x="769140" y="144"/>
                      <a:pt x="970497" y="464"/>
                    </a:cubicBezTo>
                    <a:lnTo>
                      <a:pt x="1940995" y="2005"/>
                    </a:lnTo>
                    <a:lnTo>
                      <a:pt x="1942538" y="975550"/>
                    </a:lnTo>
                    <a:cubicBezTo>
                      <a:pt x="1943459" y="1557344"/>
                      <a:pt x="1941848" y="1949095"/>
                      <a:pt x="1938535" y="1949095"/>
                    </a:cubicBezTo>
                    <a:cubicBezTo>
                      <a:pt x="1935485" y="1949095"/>
                      <a:pt x="1498067" y="1513962"/>
                      <a:pt x="966494" y="982133"/>
                    </a:cubicBezTo>
                    <a:cubicBezTo>
                      <a:pt x="434923" y="450303"/>
                      <a:pt x="0" y="11515"/>
                      <a:pt x="0" y="7046"/>
                    </a:cubicBezTo>
                    <a:cubicBezTo>
                      <a:pt x="0" y="1989"/>
                      <a:pt x="92852" y="95"/>
                      <a:pt x="479067" y="4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43032152-601F-4CB0-97F2-7F0645EF2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3678" y="2931370"/>
                <a:ext cx="2150576" cy="3240021"/>
              </a:xfrm>
              <a:custGeom>
                <a:avLst/>
                <a:gdLst>
                  <a:gd name="connsiteX0" fmla="*/ 6377 w 2150576"/>
                  <a:gd name="connsiteY0" fmla="*/ 133 h 3240021"/>
                  <a:gd name="connsiteX1" fmla="*/ 636700 w 2150576"/>
                  <a:gd name="connsiteY1" fmla="*/ 616296 h 3240021"/>
                  <a:gd name="connsiteX2" fmla="*/ 1051104 w 2150576"/>
                  <a:gd name="connsiteY2" fmla="*/ 1026317 h 3240021"/>
                  <a:gd name="connsiteX3" fmla="*/ 1614815 w 2150576"/>
                  <a:gd name="connsiteY3" fmla="*/ 1584287 h 3240021"/>
                  <a:gd name="connsiteX4" fmla="*/ 2141034 w 2150576"/>
                  <a:gd name="connsiteY4" fmla="*/ 2103385 h 3240021"/>
                  <a:gd name="connsiteX5" fmla="*/ 2149004 w 2150576"/>
                  <a:gd name="connsiteY5" fmla="*/ 2199611 h 3240021"/>
                  <a:gd name="connsiteX6" fmla="*/ 2136926 w 2150576"/>
                  <a:gd name="connsiteY6" fmla="*/ 2345517 h 3240021"/>
                  <a:gd name="connsiteX7" fmla="*/ 2095515 w 2150576"/>
                  <a:gd name="connsiteY7" fmla="*/ 2509044 h 3240021"/>
                  <a:gd name="connsiteX8" fmla="*/ 2090161 w 2150576"/>
                  <a:gd name="connsiteY8" fmla="*/ 2522530 h 3240021"/>
                  <a:gd name="connsiteX9" fmla="*/ 2004521 w 2150576"/>
                  <a:gd name="connsiteY9" fmla="*/ 2714215 h 3240021"/>
                  <a:gd name="connsiteX10" fmla="*/ 1988731 w 2150576"/>
                  <a:gd name="connsiteY10" fmla="*/ 2741638 h 3240021"/>
                  <a:gd name="connsiteX11" fmla="*/ 1964287 w 2150576"/>
                  <a:gd name="connsiteY11" fmla="*/ 2776182 h 3240021"/>
                  <a:gd name="connsiteX12" fmla="*/ 1943900 w 2150576"/>
                  <a:gd name="connsiteY12" fmla="*/ 2806025 h 3240021"/>
                  <a:gd name="connsiteX13" fmla="*/ 1664400 w 2150576"/>
                  <a:gd name="connsiteY13" fmla="*/ 3070724 h 3240021"/>
                  <a:gd name="connsiteX14" fmla="*/ 1656458 w 2150576"/>
                  <a:gd name="connsiteY14" fmla="*/ 3075535 h 3240021"/>
                  <a:gd name="connsiteX15" fmla="*/ 1541684 w 2150576"/>
                  <a:gd name="connsiteY15" fmla="*/ 3141878 h 3240021"/>
                  <a:gd name="connsiteX16" fmla="*/ 1435556 w 2150576"/>
                  <a:gd name="connsiteY16" fmla="*/ 3186512 h 3240021"/>
                  <a:gd name="connsiteX17" fmla="*/ 1415148 w 2150576"/>
                  <a:gd name="connsiteY17" fmla="*/ 3192582 h 3240021"/>
                  <a:gd name="connsiteX18" fmla="*/ 1252211 w 2150576"/>
                  <a:gd name="connsiteY18" fmla="*/ 3232582 h 3240021"/>
                  <a:gd name="connsiteX19" fmla="*/ 889608 w 2150576"/>
                  <a:gd name="connsiteY19" fmla="*/ 3232520 h 3240021"/>
                  <a:gd name="connsiteX20" fmla="*/ 889608 w 2150576"/>
                  <a:gd name="connsiteY20" fmla="*/ 3232549 h 3240021"/>
                  <a:gd name="connsiteX21" fmla="*/ 828666 w 2150576"/>
                  <a:gd name="connsiteY21" fmla="*/ 3221890 h 3240021"/>
                  <a:gd name="connsiteX22" fmla="*/ 776866 w 2150576"/>
                  <a:gd name="connsiteY22" fmla="*/ 3207676 h 3240021"/>
                  <a:gd name="connsiteX23" fmla="*/ 728417 w 2150576"/>
                  <a:gd name="connsiteY23" fmla="*/ 3191792 h 3240021"/>
                  <a:gd name="connsiteX24" fmla="*/ 714102 w 2150576"/>
                  <a:gd name="connsiteY24" fmla="*/ 3186512 h 3240021"/>
                  <a:gd name="connsiteX25" fmla="*/ 686374 w 2150576"/>
                  <a:gd name="connsiteY25" fmla="*/ 3178094 h 3240021"/>
                  <a:gd name="connsiteX26" fmla="*/ 642793 w 2150576"/>
                  <a:gd name="connsiteY26" fmla="*/ 3159335 h 3240021"/>
                  <a:gd name="connsiteX27" fmla="*/ 517868 w 2150576"/>
                  <a:gd name="connsiteY27" fmla="*/ 3095101 h 3240021"/>
                  <a:gd name="connsiteX28" fmla="*/ 498656 w 2150576"/>
                  <a:gd name="connsiteY28" fmla="*/ 3082912 h 3240021"/>
                  <a:gd name="connsiteX29" fmla="*/ 420356 w 2150576"/>
                  <a:gd name="connsiteY29" fmla="*/ 3026639 h 3240021"/>
                  <a:gd name="connsiteX30" fmla="*/ 414888 w 2150576"/>
                  <a:gd name="connsiteY30" fmla="*/ 3021971 h 3240021"/>
                  <a:gd name="connsiteX31" fmla="*/ 255813 w 2150576"/>
                  <a:gd name="connsiteY31" fmla="*/ 2871540 h 3240021"/>
                  <a:gd name="connsiteX32" fmla="*/ 249959 w 2150576"/>
                  <a:gd name="connsiteY32" fmla="*/ 2863521 h 3240021"/>
                  <a:gd name="connsiteX33" fmla="*/ 127836 w 2150576"/>
                  <a:gd name="connsiteY33" fmla="*/ 2687890 h 3240021"/>
                  <a:gd name="connsiteX34" fmla="*/ 123229 w 2150576"/>
                  <a:gd name="connsiteY34" fmla="*/ 2680697 h 3240021"/>
                  <a:gd name="connsiteX35" fmla="*/ 110343 w 2150576"/>
                  <a:gd name="connsiteY35" fmla="*/ 2660890 h 3240021"/>
                  <a:gd name="connsiteX36" fmla="*/ 90574 w 2150576"/>
                  <a:gd name="connsiteY36" fmla="*/ 2618043 h 3240021"/>
                  <a:gd name="connsiteX37" fmla="*/ 79083 w 2150576"/>
                  <a:gd name="connsiteY37" fmla="*/ 2583002 h 3240021"/>
                  <a:gd name="connsiteX38" fmla="*/ 73913 w 2150576"/>
                  <a:gd name="connsiteY38" fmla="*/ 2571002 h 3240021"/>
                  <a:gd name="connsiteX39" fmla="*/ 48611 w 2150576"/>
                  <a:gd name="connsiteY39" fmla="*/ 2500219 h 3240021"/>
                  <a:gd name="connsiteX40" fmla="*/ 43678 w 2150576"/>
                  <a:gd name="connsiteY40" fmla="*/ 2491778 h 3240021"/>
                  <a:gd name="connsiteX41" fmla="*/ 31317 w 2150576"/>
                  <a:gd name="connsiteY41" fmla="*/ 2453689 h 3240021"/>
                  <a:gd name="connsiteX42" fmla="*/ 18163 w 2150576"/>
                  <a:gd name="connsiteY42" fmla="*/ 2388177 h 3240021"/>
                  <a:gd name="connsiteX43" fmla="*/ 6608 w 2150576"/>
                  <a:gd name="connsiteY43" fmla="*/ 2327235 h 3240021"/>
                  <a:gd name="connsiteX44" fmla="*/ 6377 w 2150576"/>
                  <a:gd name="connsiteY44" fmla="*/ 133 h 3240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150576" h="3240021">
                    <a:moveTo>
                      <a:pt x="6377" y="133"/>
                    </a:moveTo>
                    <a:cubicBezTo>
                      <a:pt x="13282" y="-2169"/>
                      <a:pt x="34810" y="18874"/>
                      <a:pt x="636700" y="616296"/>
                    </a:cubicBezTo>
                    <a:cubicBezTo>
                      <a:pt x="837807" y="815911"/>
                      <a:pt x="1024289" y="1000420"/>
                      <a:pt x="1051104" y="1026317"/>
                    </a:cubicBezTo>
                    <a:cubicBezTo>
                      <a:pt x="1077918" y="1052214"/>
                      <a:pt x="1331588" y="1303300"/>
                      <a:pt x="1614815" y="1584287"/>
                    </a:cubicBezTo>
                    <a:cubicBezTo>
                      <a:pt x="1898042" y="1865274"/>
                      <a:pt x="2134840" y="2098868"/>
                      <a:pt x="2141034" y="2103385"/>
                    </a:cubicBezTo>
                    <a:cubicBezTo>
                      <a:pt x="2151367" y="2110922"/>
                      <a:pt x="2152023" y="2118856"/>
                      <a:pt x="2149004" y="2199611"/>
                    </a:cubicBezTo>
                    <a:cubicBezTo>
                      <a:pt x="2147192" y="2248017"/>
                      <a:pt x="2141758" y="2313676"/>
                      <a:pt x="2136926" y="2345517"/>
                    </a:cubicBezTo>
                    <a:cubicBezTo>
                      <a:pt x="2126596" y="2413587"/>
                      <a:pt x="2103157" y="2506144"/>
                      <a:pt x="2095515" y="2509044"/>
                    </a:cubicBezTo>
                    <a:cubicBezTo>
                      <a:pt x="2092570" y="2510162"/>
                      <a:pt x="2090161" y="2516230"/>
                      <a:pt x="2090161" y="2522530"/>
                    </a:cubicBezTo>
                    <a:cubicBezTo>
                      <a:pt x="2090161" y="2543734"/>
                      <a:pt x="2035701" y="2665630"/>
                      <a:pt x="2004521" y="2714215"/>
                    </a:cubicBezTo>
                    <a:cubicBezTo>
                      <a:pt x="1998068" y="2724269"/>
                      <a:pt x="1990962" y="2736610"/>
                      <a:pt x="1988731" y="2741638"/>
                    </a:cubicBezTo>
                    <a:cubicBezTo>
                      <a:pt x="1986499" y="2746665"/>
                      <a:pt x="1975501" y="2762210"/>
                      <a:pt x="1964287" y="2776182"/>
                    </a:cubicBezTo>
                    <a:cubicBezTo>
                      <a:pt x="1953075" y="2790154"/>
                      <a:pt x="1943900" y="2803582"/>
                      <a:pt x="1943900" y="2806025"/>
                    </a:cubicBezTo>
                    <a:cubicBezTo>
                      <a:pt x="1943900" y="2833988"/>
                      <a:pt x="1693927" y="3070724"/>
                      <a:pt x="1664400" y="3070724"/>
                    </a:cubicBezTo>
                    <a:cubicBezTo>
                      <a:pt x="1661150" y="3070724"/>
                      <a:pt x="1657575" y="3072889"/>
                      <a:pt x="1656458" y="3075535"/>
                    </a:cubicBezTo>
                    <a:cubicBezTo>
                      <a:pt x="1653301" y="3083012"/>
                      <a:pt x="1598752" y="3114544"/>
                      <a:pt x="1541684" y="3141878"/>
                    </a:cubicBezTo>
                    <a:cubicBezTo>
                      <a:pt x="1464033" y="3179072"/>
                      <a:pt x="1446341" y="3186512"/>
                      <a:pt x="1435556" y="3186512"/>
                    </a:cubicBezTo>
                    <a:cubicBezTo>
                      <a:pt x="1430153" y="3186512"/>
                      <a:pt x="1420968" y="3189244"/>
                      <a:pt x="1415148" y="3192582"/>
                    </a:cubicBezTo>
                    <a:cubicBezTo>
                      <a:pt x="1394728" y="3204292"/>
                      <a:pt x="1312559" y="3224464"/>
                      <a:pt x="1252211" y="3232582"/>
                    </a:cubicBezTo>
                    <a:cubicBezTo>
                      <a:pt x="1178312" y="3242521"/>
                      <a:pt x="962769" y="3242502"/>
                      <a:pt x="889608" y="3232520"/>
                    </a:cubicBezTo>
                    <a:lnTo>
                      <a:pt x="889608" y="3232549"/>
                    </a:lnTo>
                    <a:cubicBezTo>
                      <a:pt x="861118" y="3228673"/>
                      <a:pt x="833693" y="3223877"/>
                      <a:pt x="828666" y="3221890"/>
                    </a:cubicBezTo>
                    <a:cubicBezTo>
                      <a:pt x="823638" y="3219904"/>
                      <a:pt x="800328" y="3213507"/>
                      <a:pt x="776866" y="3207676"/>
                    </a:cubicBezTo>
                    <a:cubicBezTo>
                      <a:pt x="753403" y="3201843"/>
                      <a:pt x="731601" y="3194695"/>
                      <a:pt x="728417" y="3191792"/>
                    </a:cubicBezTo>
                    <a:cubicBezTo>
                      <a:pt x="725233" y="3188888"/>
                      <a:pt x="718791" y="3186512"/>
                      <a:pt x="714102" y="3186512"/>
                    </a:cubicBezTo>
                    <a:cubicBezTo>
                      <a:pt x="709414" y="3186512"/>
                      <a:pt x="696936" y="3182725"/>
                      <a:pt x="686374" y="3178094"/>
                    </a:cubicBezTo>
                    <a:cubicBezTo>
                      <a:pt x="675812" y="3173465"/>
                      <a:pt x="656201" y="3165023"/>
                      <a:pt x="642793" y="3159335"/>
                    </a:cubicBezTo>
                    <a:cubicBezTo>
                      <a:pt x="606608" y="3143985"/>
                      <a:pt x="524590" y="3101813"/>
                      <a:pt x="517868" y="3095101"/>
                    </a:cubicBezTo>
                    <a:cubicBezTo>
                      <a:pt x="516189" y="3093424"/>
                      <a:pt x="507544" y="3087939"/>
                      <a:pt x="498656" y="3082912"/>
                    </a:cubicBezTo>
                    <a:cubicBezTo>
                      <a:pt x="468160" y="3065661"/>
                      <a:pt x="420356" y="3031305"/>
                      <a:pt x="420356" y="3026639"/>
                    </a:cubicBezTo>
                    <a:cubicBezTo>
                      <a:pt x="420356" y="3024071"/>
                      <a:pt x="417896" y="3021971"/>
                      <a:pt x="414888" y="3021971"/>
                    </a:cubicBezTo>
                    <a:cubicBezTo>
                      <a:pt x="401456" y="3021971"/>
                      <a:pt x="255813" y="2884241"/>
                      <a:pt x="255813" y="2871540"/>
                    </a:cubicBezTo>
                    <a:cubicBezTo>
                      <a:pt x="255813" y="2867129"/>
                      <a:pt x="253178" y="2863521"/>
                      <a:pt x="249959" y="2863521"/>
                    </a:cubicBezTo>
                    <a:cubicBezTo>
                      <a:pt x="239140" y="2863521"/>
                      <a:pt x="127836" y="2703448"/>
                      <a:pt x="127836" y="2687890"/>
                    </a:cubicBezTo>
                    <a:cubicBezTo>
                      <a:pt x="127836" y="2683934"/>
                      <a:pt x="125763" y="2680697"/>
                      <a:pt x="123229" y="2680697"/>
                    </a:cubicBezTo>
                    <a:cubicBezTo>
                      <a:pt x="120696" y="2680697"/>
                      <a:pt x="114897" y="2671784"/>
                      <a:pt x="110343" y="2660890"/>
                    </a:cubicBezTo>
                    <a:cubicBezTo>
                      <a:pt x="105790" y="2649998"/>
                      <a:pt x="96894" y="2630716"/>
                      <a:pt x="90574" y="2618043"/>
                    </a:cubicBezTo>
                    <a:cubicBezTo>
                      <a:pt x="84253" y="2605372"/>
                      <a:pt x="79083" y="2589603"/>
                      <a:pt x="79083" y="2583002"/>
                    </a:cubicBezTo>
                    <a:cubicBezTo>
                      <a:pt x="79083" y="2576402"/>
                      <a:pt x="76757" y="2571002"/>
                      <a:pt x="73913" y="2571002"/>
                    </a:cubicBezTo>
                    <a:cubicBezTo>
                      <a:pt x="68572" y="2571002"/>
                      <a:pt x="48611" y="2515163"/>
                      <a:pt x="48611" y="2500219"/>
                    </a:cubicBezTo>
                    <a:cubicBezTo>
                      <a:pt x="48611" y="2495576"/>
                      <a:pt x="46391" y="2491778"/>
                      <a:pt x="43678" y="2491778"/>
                    </a:cubicBezTo>
                    <a:cubicBezTo>
                      <a:pt x="40964" y="2491778"/>
                      <a:pt x="35402" y="2474638"/>
                      <a:pt x="31317" y="2453689"/>
                    </a:cubicBezTo>
                    <a:cubicBezTo>
                      <a:pt x="27232" y="2432740"/>
                      <a:pt x="21314" y="2403259"/>
                      <a:pt x="18163" y="2388177"/>
                    </a:cubicBezTo>
                    <a:cubicBezTo>
                      <a:pt x="15014" y="2373093"/>
                      <a:pt x="9814" y="2345670"/>
                      <a:pt x="6608" y="2327235"/>
                    </a:cubicBezTo>
                    <a:cubicBezTo>
                      <a:pt x="-2049" y="2277457"/>
                      <a:pt x="-2275" y="3018"/>
                      <a:pt x="6377" y="133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21B776C-A255-4DB5-87C5-216F315264EC}"/>
                </a:ext>
              </a:extLst>
            </p:cNvPr>
            <p:cNvSpPr/>
            <p:nvPr/>
          </p:nvSpPr>
          <p:spPr bwMode="ltGray">
            <a:xfrm>
              <a:off x="8224347" y="3592176"/>
              <a:ext cx="2150575" cy="3240020"/>
            </a:xfrm>
            <a:custGeom>
              <a:avLst/>
              <a:gdLst>
                <a:gd name="connsiteX0" fmla="*/ 896247 w 2166626"/>
                <a:gd name="connsiteY0" fmla="*/ 3256674 h 3264202"/>
                <a:gd name="connsiteX1" fmla="*/ 834850 w 2166626"/>
                <a:gd name="connsiteY1" fmla="*/ 3245936 h 3264202"/>
                <a:gd name="connsiteX2" fmla="*/ 782663 w 2166626"/>
                <a:gd name="connsiteY2" fmla="*/ 3231615 h 3264202"/>
                <a:gd name="connsiteX3" fmla="*/ 733853 w 2166626"/>
                <a:gd name="connsiteY3" fmla="*/ 3215613 h 3264202"/>
                <a:gd name="connsiteX4" fmla="*/ 719431 w 2166626"/>
                <a:gd name="connsiteY4" fmla="*/ 3210294 h 3264202"/>
                <a:gd name="connsiteX5" fmla="*/ 691496 w 2166626"/>
                <a:gd name="connsiteY5" fmla="*/ 3201813 h 3264202"/>
                <a:gd name="connsiteX6" fmla="*/ 647590 w 2166626"/>
                <a:gd name="connsiteY6" fmla="*/ 3182914 h 3264202"/>
                <a:gd name="connsiteX7" fmla="*/ 521732 w 2166626"/>
                <a:gd name="connsiteY7" fmla="*/ 3118200 h 3264202"/>
                <a:gd name="connsiteX8" fmla="*/ 502377 w 2166626"/>
                <a:gd name="connsiteY8" fmla="*/ 3105920 h 3264202"/>
                <a:gd name="connsiteX9" fmla="*/ 423493 w 2166626"/>
                <a:gd name="connsiteY9" fmla="*/ 3049227 h 3264202"/>
                <a:gd name="connsiteX10" fmla="*/ 417984 w 2166626"/>
                <a:gd name="connsiteY10" fmla="*/ 3044524 h 3264202"/>
                <a:gd name="connsiteX11" fmla="*/ 257722 w 2166626"/>
                <a:gd name="connsiteY11" fmla="*/ 2892971 h 3264202"/>
                <a:gd name="connsiteX12" fmla="*/ 251824 w 2166626"/>
                <a:gd name="connsiteY12" fmla="*/ 2884892 h 3264202"/>
                <a:gd name="connsiteX13" fmla="*/ 128789 w 2166626"/>
                <a:gd name="connsiteY13" fmla="*/ 2707950 h 3264202"/>
                <a:gd name="connsiteX14" fmla="*/ 124148 w 2166626"/>
                <a:gd name="connsiteY14" fmla="*/ 2700703 h 3264202"/>
                <a:gd name="connsiteX15" fmla="*/ 111166 w 2166626"/>
                <a:gd name="connsiteY15" fmla="*/ 2680749 h 3264202"/>
                <a:gd name="connsiteX16" fmla="*/ 91249 w 2166626"/>
                <a:gd name="connsiteY16" fmla="*/ 2637582 h 3264202"/>
                <a:gd name="connsiteX17" fmla="*/ 79672 w 2166626"/>
                <a:gd name="connsiteY17" fmla="*/ 2602279 h 3264202"/>
                <a:gd name="connsiteX18" fmla="*/ 74464 w 2166626"/>
                <a:gd name="connsiteY18" fmla="*/ 2590190 h 3264202"/>
                <a:gd name="connsiteX19" fmla="*/ 48973 w 2166626"/>
                <a:gd name="connsiteY19" fmla="*/ 2518878 h 3264202"/>
                <a:gd name="connsiteX20" fmla="*/ 44003 w 2166626"/>
                <a:gd name="connsiteY20" fmla="*/ 2510374 h 3264202"/>
                <a:gd name="connsiteX21" fmla="*/ 31550 w 2166626"/>
                <a:gd name="connsiteY21" fmla="*/ 2472001 h 3264202"/>
                <a:gd name="connsiteX22" fmla="*/ 18298 w 2166626"/>
                <a:gd name="connsiteY22" fmla="*/ 2406000 h 3264202"/>
                <a:gd name="connsiteX23" fmla="*/ 6657 w 2166626"/>
                <a:gd name="connsiteY23" fmla="*/ 2344603 h 3264202"/>
                <a:gd name="connsiteX24" fmla="*/ 6424 w 2166626"/>
                <a:gd name="connsiteY24" fmla="*/ 133 h 3264202"/>
                <a:gd name="connsiteX25" fmla="*/ 641451 w 2166626"/>
                <a:gd name="connsiteY25" fmla="*/ 620895 h 3264202"/>
                <a:gd name="connsiteX26" fmla="*/ 1058948 w 2166626"/>
                <a:gd name="connsiteY26" fmla="*/ 1033976 h 3264202"/>
                <a:gd name="connsiteX27" fmla="*/ 1626866 w 2166626"/>
                <a:gd name="connsiteY27" fmla="*/ 1596110 h 3264202"/>
                <a:gd name="connsiteX28" fmla="*/ 2157013 w 2166626"/>
                <a:gd name="connsiteY28" fmla="*/ 2119083 h 3264202"/>
                <a:gd name="connsiteX29" fmla="*/ 2165042 w 2166626"/>
                <a:gd name="connsiteY29" fmla="*/ 2216027 h 3264202"/>
                <a:gd name="connsiteX30" fmla="*/ 2152874 w 2166626"/>
                <a:gd name="connsiteY30" fmla="*/ 2363022 h 3264202"/>
                <a:gd name="connsiteX31" fmla="*/ 2111154 w 2166626"/>
                <a:gd name="connsiteY31" fmla="*/ 2527769 h 3264202"/>
                <a:gd name="connsiteX32" fmla="*/ 2105760 w 2166626"/>
                <a:gd name="connsiteY32" fmla="*/ 2541356 h 3264202"/>
                <a:gd name="connsiteX33" fmla="*/ 2019481 w 2166626"/>
                <a:gd name="connsiteY33" fmla="*/ 2734471 h 3264202"/>
                <a:gd name="connsiteX34" fmla="*/ 2003573 w 2166626"/>
                <a:gd name="connsiteY34" fmla="*/ 2762099 h 3264202"/>
                <a:gd name="connsiteX35" fmla="*/ 1978947 w 2166626"/>
                <a:gd name="connsiteY35" fmla="*/ 2796901 h 3264202"/>
                <a:gd name="connsiteX36" fmla="*/ 1958408 w 2166626"/>
                <a:gd name="connsiteY36" fmla="*/ 2826967 h 3264202"/>
                <a:gd name="connsiteX37" fmla="*/ 1676822 w 2166626"/>
                <a:gd name="connsiteY37" fmla="*/ 3093641 h 3264202"/>
                <a:gd name="connsiteX38" fmla="*/ 1668820 w 2166626"/>
                <a:gd name="connsiteY38" fmla="*/ 3098488 h 3264202"/>
                <a:gd name="connsiteX39" fmla="*/ 1553190 w 2166626"/>
                <a:gd name="connsiteY39" fmla="*/ 3165326 h 3264202"/>
                <a:gd name="connsiteX40" fmla="*/ 1446270 w 2166626"/>
                <a:gd name="connsiteY40" fmla="*/ 3210294 h 3264202"/>
                <a:gd name="connsiteX41" fmla="*/ 1425709 w 2166626"/>
                <a:gd name="connsiteY41" fmla="*/ 3216409 h 3264202"/>
                <a:gd name="connsiteX42" fmla="*/ 1261556 w 2166626"/>
                <a:gd name="connsiteY42" fmla="*/ 3256707 h 3264202"/>
                <a:gd name="connsiteX43" fmla="*/ 896247 w 2166626"/>
                <a:gd name="connsiteY43" fmla="*/ 3256645 h 326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66626" h="3264202">
                  <a:moveTo>
                    <a:pt x="896247" y="3256674"/>
                  </a:moveTo>
                  <a:cubicBezTo>
                    <a:pt x="867544" y="3252769"/>
                    <a:pt x="839915" y="3247937"/>
                    <a:pt x="834850" y="3245936"/>
                  </a:cubicBezTo>
                  <a:cubicBezTo>
                    <a:pt x="829785" y="3243935"/>
                    <a:pt x="806301" y="3237490"/>
                    <a:pt x="782663" y="3231615"/>
                  </a:cubicBezTo>
                  <a:cubicBezTo>
                    <a:pt x="759025" y="3225739"/>
                    <a:pt x="737061" y="3218538"/>
                    <a:pt x="733853" y="3215613"/>
                  </a:cubicBezTo>
                  <a:cubicBezTo>
                    <a:pt x="730645" y="3212687"/>
                    <a:pt x="724155" y="3210294"/>
                    <a:pt x="719431" y="3210294"/>
                  </a:cubicBezTo>
                  <a:cubicBezTo>
                    <a:pt x="714708" y="3210294"/>
                    <a:pt x="702137" y="3206478"/>
                    <a:pt x="691496" y="3201813"/>
                  </a:cubicBezTo>
                  <a:cubicBezTo>
                    <a:pt x="680855" y="3197149"/>
                    <a:pt x="661098" y="3188644"/>
                    <a:pt x="647590" y="3182914"/>
                  </a:cubicBezTo>
                  <a:cubicBezTo>
                    <a:pt x="611135" y="3167449"/>
                    <a:pt x="528505" y="3124962"/>
                    <a:pt x="521732" y="3118200"/>
                  </a:cubicBezTo>
                  <a:cubicBezTo>
                    <a:pt x="520041" y="3116511"/>
                    <a:pt x="511331" y="3110985"/>
                    <a:pt x="502377" y="3105920"/>
                  </a:cubicBezTo>
                  <a:cubicBezTo>
                    <a:pt x="471653" y="3088541"/>
                    <a:pt x="423493" y="3053928"/>
                    <a:pt x="423493" y="3049227"/>
                  </a:cubicBezTo>
                  <a:cubicBezTo>
                    <a:pt x="423493" y="3046640"/>
                    <a:pt x="421014" y="3044524"/>
                    <a:pt x="417984" y="3044524"/>
                  </a:cubicBezTo>
                  <a:cubicBezTo>
                    <a:pt x="404452" y="3044524"/>
                    <a:pt x="257722" y="2905767"/>
                    <a:pt x="257722" y="2892971"/>
                  </a:cubicBezTo>
                  <a:cubicBezTo>
                    <a:pt x="257722" y="2888527"/>
                    <a:pt x="255067" y="2884892"/>
                    <a:pt x="251824" y="2884892"/>
                  </a:cubicBezTo>
                  <a:cubicBezTo>
                    <a:pt x="240924" y="2884892"/>
                    <a:pt x="128789" y="2723624"/>
                    <a:pt x="128789" y="2707950"/>
                  </a:cubicBezTo>
                  <a:cubicBezTo>
                    <a:pt x="128789" y="2703964"/>
                    <a:pt x="126701" y="2700703"/>
                    <a:pt x="124148" y="2700703"/>
                  </a:cubicBezTo>
                  <a:cubicBezTo>
                    <a:pt x="121596" y="2700703"/>
                    <a:pt x="115754" y="2691724"/>
                    <a:pt x="111166" y="2680749"/>
                  </a:cubicBezTo>
                  <a:cubicBezTo>
                    <a:pt x="106579" y="2669775"/>
                    <a:pt x="97616" y="2650349"/>
                    <a:pt x="91249" y="2637582"/>
                  </a:cubicBezTo>
                  <a:cubicBezTo>
                    <a:pt x="84881" y="2624816"/>
                    <a:pt x="79672" y="2608929"/>
                    <a:pt x="79672" y="2602279"/>
                  </a:cubicBezTo>
                  <a:cubicBezTo>
                    <a:pt x="79672" y="2595630"/>
                    <a:pt x="77329" y="2590190"/>
                    <a:pt x="74464" y="2590190"/>
                  </a:cubicBezTo>
                  <a:cubicBezTo>
                    <a:pt x="69083" y="2590190"/>
                    <a:pt x="48973" y="2533934"/>
                    <a:pt x="48973" y="2518878"/>
                  </a:cubicBezTo>
                  <a:cubicBezTo>
                    <a:pt x="48973" y="2514201"/>
                    <a:pt x="46736" y="2510374"/>
                    <a:pt x="44003" y="2510374"/>
                  </a:cubicBezTo>
                  <a:cubicBezTo>
                    <a:pt x="41269" y="2510374"/>
                    <a:pt x="35665" y="2493106"/>
                    <a:pt x="31550" y="2472001"/>
                  </a:cubicBezTo>
                  <a:cubicBezTo>
                    <a:pt x="27434" y="2450896"/>
                    <a:pt x="21472" y="2421195"/>
                    <a:pt x="18298" y="2406000"/>
                  </a:cubicBezTo>
                  <a:cubicBezTo>
                    <a:pt x="15125" y="2390804"/>
                    <a:pt x="9886" y="2363176"/>
                    <a:pt x="6657" y="2344603"/>
                  </a:cubicBezTo>
                  <a:cubicBezTo>
                    <a:pt x="-2065" y="2294454"/>
                    <a:pt x="-2293" y="3039"/>
                    <a:pt x="6424" y="133"/>
                  </a:cubicBezTo>
                  <a:cubicBezTo>
                    <a:pt x="13380" y="-2186"/>
                    <a:pt x="35069" y="19014"/>
                    <a:pt x="641451" y="620895"/>
                  </a:cubicBezTo>
                  <a:cubicBezTo>
                    <a:pt x="844059" y="821999"/>
                    <a:pt x="1031933" y="1007886"/>
                    <a:pt x="1058948" y="1033976"/>
                  </a:cubicBezTo>
                  <a:cubicBezTo>
                    <a:pt x="1085962" y="1060066"/>
                    <a:pt x="1341526" y="1313026"/>
                    <a:pt x="1626866" y="1596110"/>
                  </a:cubicBezTo>
                  <a:cubicBezTo>
                    <a:pt x="1912207" y="1879194"/>
                    <a:pt x="2150773" y="2114532"/>
                    <a:pt x="2157013" y="2119083"/>
                  </a:cubicBezTo>
                  <a:cubicBezTo>
                    <a:pt x="2167423" y="2126676"/>
                    <a:pt x="2168084" y="2134669"/>
                    <a:pt x="2165042" y="2216027"/>
                  </a:cubicBezTo>
                  <a:cubicBezTo>
                    <a:pt x="2163217" y="2264794"/>
                    <a:pt x="2157742" y="2330943"/>
                    <a:pt x="2152874" y="2363022"/>
                  </a:cubicBezTo>
                  <a:cubicBezTo>
                    <a:pt x="2142467" y="2431600"/>
                    <a:pt x="2118853" y="2524848"/>
                    <a:pt x="2111154" y="2527769"/>
                  </a:cubicBezTo>
                  <a:cubicBezTo>
                    <a:pt x="2108187" y="2528896"/>
                    <a:pt x="2105760" y="2535009"/>
                    <a:pt x="2105760" y="2541356"/>
                  </a:cubicBezTo>
                  <a:cubicBezTo>
                    <a:pt x="2105760" y="2562718"/>
                    <a:pt x="2050894" y="2685524"/>
                    <a:pt x="2019481" y="2734471"/>
                  </a:cubicBezTo>
                  <a:cubicBezTo>
                    <a:pt x="2012980" y="2744601"/>
                    <a:pt x="2005821" y="2757034"/>
                    <a:pt x="2003573" y="2762099"/>
                  </a:cubicBezTo>
                  <a:cubicBezTo>
                    <a:pt x="2001325" y="2767164"/>
                    <a:pt x="1990244" y="2782825"/>
                    <a:pt x="1978947" y="2796901"/>
                  </a:cubicBezTo>
                  <a:cubicBezTo>
                    <a:pt x="1967651" y="2810977"/>
                    <a:pt x="1958408" y="2824506"/>
                    <a:pt x="1958408" y="2826967"/>
                  </a:cubicBezTo>
                  <a:cubicBezTo>
                    <a:pt x="1958408" y="2855138"/>
                    <a:pt x="1706569" y="3093641"/>
                    <a:pt x="1676822" y="3093641"/>
                  </a:cubicBezTo>
                  <a:cubicBezTo>
                    <a:pt x="1673547" y="3093641"/>
                    <a:pt x="1669946" y="3095822"/>
                    <a:pt x="1668820" y="3098488"/>
                  </a:cubicBezTo>
                  <a:cubicBezTo>
                    <a:pt x="1665640" y="3106021"/>
                    <a:pt x="1610684" y="3137788"/>
                    <a:pt x="1553190" y="3165326"/>
                  </a:cubicBezTo>
                  <a:cubicBezTo>
                    <a:pt x="1474959" y="3202798"/>
                    <a:pt x="1457135" y="3210294"/>
                    <a:pt x="1446270" y="3210294"/>
                  </a:cubicBezTo>
                  <a:cubicBezTo>
                    <a:pt x="1440826" y="3210294"/>
                    <a:pt x="1431573" y="3213046"/>
                    <a:pt x="1425709" y="3216409"/>
                  </a:cubicBezTo>
                  <a:cubicBezTo>
                    <a:pt x="1405137" y="3228206"/>
                    <a:pt x="1322355" y="3248529"/>
                    <a:pt x="1261556" y="3256707"/>
                  </a:cubicBezTo>
                  <a:cubicBezTo>
                    <a:pt x="1187106" y="3266721"/>
                    <a:pt x="969954" y="3266701"/>
                    <a:pt x="896247" y="3256645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ACD7E31-480C-48CD-B20F-FC2D72107278}"/>
                </a:ext>
              </a:extLst>
            </p:cNvPr>
            <p:cNvSpPr/>
            <p:nvPr/>
          </p:nvSpPr>
          <p:spPr bwMode="ltGray">
            <a:xfrm>
              <a:off x="10479049" y="3530493"/>
              <a:ext cx="1674822" cy="2401637"/>
            </a:xfrm>
            <a:custGeom>
              <a:avLst/>
              <a:gdLst>
                <a:gd name="connsiteX0" fmla="*/ 588675 w 1687322"/>
                <a:gd name="connsiteY0" fmla="*/ 2416247 h 2419562"/>
                <a:gd name="connsiteX1" fmla="*/ 552349 w 1687322"/>
                <a:gd name="connsiteY1" fmla="*/ 2407607 h 2419562"/>
                <a:gd name="connsiteX2" fmla="*/ 432846 w 1687322"/>
                <a:gd name="connsiteY2" fmla="*/ 2382216 h 2419562"/>
                <a:gd name="connsiteX3" fmla="*/ 402148 w 1687322"/>
                <a:gd name="connsiteY3" fmla="*/ 2373230 h 2419562"/>
                <a:gd name="connsiteX4" fmla="*/ 371449 w 1687322"/>
                <a:gd name="connsiteY4" fmla="*/ 2364083 h 2419562"/>
                <a:gd name="connsiteX5" fmla="*/ 334611 w 1687322"/>
                <a:gd name="connsiteY5" fmla="*/ 2348079 h 2419562"/>
                <a:gd name="connsiteX6" fmla="*/ 116716 w 1687322"/>
                <a:gd name="connsiteY6" fmla="*/ 2224255 h 2419562"/>
                <a:gd name="connsiteX7" fmla="*/ 96949 w 1687322"/>
                <a:gd name="connsiteY7" fmla="*/ 2210278 h 2419562"/>
                <a:gd name="connsiteX8" fmla="*/ 11157 w 1687322"/>
                <a:gd name="connsiteY8" fmla="*/ 2135067 h 2419562"/>
                <a:gd name="connsiteX9" fmla="*/ 0 w 1687322"/>
                <a:gd name="connsiteY9" fmla="*/ 1071873 h 2419562"/>
                <a:gd name="connsiteX10" fmla="*/ 3727 w 1687322"/>
                <a:gd name="connsiteY10" fmla="*/ 9712 h 2419562"/>
                <a:gd name="connsiteX11" fmla="*/ 336954 w 1687322"/>
                <a:gd name="connsiteY11" fmla="*/ 0 h 2419562"/>
                <a:gd name="connsiteX12" fmla="*/ 666454 w 1687322"/>
                <a:gd name="connsiteY12" fmla="*/ 0 h 2419562"/>
                <a:gd name="connsiteX13" fmla="*/ 1068760 w 1687322"/>
                <a:gd name="connsiteY13" fmla="*/ 403683 h 2419562"/>
                <a:gd name="connsiteX14" fmla="*/ 1509074 w 1687322"/>
                <a:gd name="connsiteY14" fmla="*/ 862622 h 2419562"/>
                <a:gd name="connsiteX15" fmla="*/ 1551939 w 1687322"/>
                <a:gd name="connsiteY15" fmla="*/ 924019 h 2419562"/>
                <a:gd name="connsiteX16" fmla="*/ 1620908 w 1687322"/>
                <a:gd name="connsiteY16" fmla="*/ 1064159 h 2419562"/>
                <a:gd name="connsiteX17" fmla="*/ 1628876 w 1687322"/>
                <a:gd name="connsiteY17" fmla="*/ 1086720 h 2419562"/>
                <a:gd name="connsiteX18" fmla="*/ 1679444 w 1687322"/>
                <a:gd name="connsiteY18" fmla="*/ 1277049 h 2419562"/>
                <a:gd name="connsiteX19" fmla="*/ 1674299 w 1687322"/>
                <a:gd name="connsiteY19" fmla="*/ 1611661 h 2419562"/>
                <a:gd name="connsiteX20" fmla="*/ 1633587 w 1687322"/>
                <a:gd name="connsiteY20" fmla="*/ 1758877 h 2419562"/>
                <a:gd name="connsiteX21" fmla="*/ 1624629 w 1687322"/>
                <a:gd name="connsiteY21" fmla="*/ 1782197 h 2419562"/>
                <a:gd name="connsiteX22" fmla="*/ 1531058 w 1687322"/>
                <a:gd name="connsiteY22" fmla="*/ 1965175 h 2419562"/>
                <a:gd name="connsiteX23" fmla="*/ 1522636 w 1687322"/>
                <a:gd name="connsiteY23" fmla="*/ 1980703 h 2419562"/>
                <a:gd name="connsiteX24" fmla="*/ 1510356 w 1687322"/>
                <a:gd name="connsiteY24" fmla="*/ 1995389 h 2419562"/>
                <a:gd name="connsiteX25" fmla="*/ 1498077 w 1687322"/>
                <a:gd name="connsiteY25" fmla="*/ 2011071 h 2419562"/>
                <a:gd name="connsiteX26" fmla="*/ 1479829 w 1687322"/>
                <a:gd name="connsiteY26" fmla="*/ 2035809 h 2419562"/>
                <a:gd name="connsiteX27" fmla="*/ 1461410 w 1687322"/>
                <a:gd name="connsiteY27" fmla="*/ 2058846 h 2419562"/>
                <a:gd name="connsiteX28" fmla="*/ 1270760 w 1687322"/>
                <a:gd name="connsiteY28" fmla="*/ 2234837 h 2419562"/>
                <a:gd name="connsiteX29" fmla="*/ 1240844 w 1687322"/>
                <a:gd name="connsiteY29" fmla="*/ 2256325 h 2419562"/>
                <a:gd name="connsiteX30" fmla="*/ 1212534 w 1687322"/>
                <a:gd name="connsiteY30" fmla="*/ 2276010 h 2419562"/>
                <a:gd name="connsiteX31" fmla="*/ 1056022 w 1687322"/>
                <a:gd name="connsiteY31" fmla="*/ 2353036 h 2419562"/>
                <a:gd name="connsiteX32" fmla="*/ 1029793 w 1687322"/>
                <a:gd name="connsiteY32" fmla="*/ 2364622 h 2419562"/>
                <a:gd name="connsiteX33" fmla="*/ 991421 w 1687322"/>
                <a:gd name="connsiteY33" fmla="*/ 2373949 h 2419562"/>
                <a:gd name="connsiteX34" fmla="*/ 963927 w 1687322"/>
                <a:gd name="connsiteY34" fmla="*/ 2382115 h 2419562"/>
                <a:gd name="connsiteX35" fmla="*/ 925554 w 1687322"/>
                <a:gd name="connsiteY35" fmla="*/ 2393433 h 2419562"/>
                <a:gd name="connsiteX36" fmla="*/ 838064 w 1687322"/>
                <a:gd name="connsiteY36" fmla="*/ 2409568 h 2419562"/>
                <a:gd name="connsiteX37" fmla="*/ 588675 w 1687322"/>
                <a:gd name="connsiteY37" fmla="*/ 2416247 h 241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687322" h="2419562">
                  <a:moveTo>
                    <a:pt x="588675" y="2416247"/>
                  </a:moveTo>
                  <a:cubicBezTo>
                    <a:pt x="587147" y="2414719"/>
                    <a:pt x="570800" y="2410831"/>
                    <a:pt x="552349" y="2407607"/>
                  </a:cubicBezTo>
                  <a:cubicBezTo>
                    <a:pt x="471623" y="2393501"/>
                    <a:pt x="438580" y="2386480"/>
                    <a:pt x="432846" y="2382216"/>
                  </a:cubicBezTo>
                  <a:cubicBezTo>
                    <a:pt x="429469" y="2379704"/>
                    <a:pt x="415655" y="2375661"/>
                    <a:pt x="402148" y="2373230"/>
                  </a:cubicBezTo>
                  <a:cubicBezTo>
                    <a:pt x="388640" y="2370800"/>
                    <a:pt x="374826" y="2366683"/>
                    <a:pt x="371449" y="2364083"/>
                  </a:cubicBezTo>
                  <a:cubicBezTo>
                    <a:pt x="368072" y="2361482"/>
                    <a:pt x="351496" y="2354281"/>
                    <a:pt x="334611" y="2348079"/>
                  </a:cubicBezTo>
                  <a:cubicBezTo>
                    <a:pt x="275433" y="2326342"/>
                    <a:pt x="151078" y="2255675"/>
                    <a:pt x="116716" y="2224255"/>
                  </a:cubicBezTo>
                  <a:cubicBezTo>
                    <a:pt x="108309" y="2216567"/>
                    <a:pt x="99413" y="2210278"/>
                    <a:pt x="96949" y="2210278"/>
                  </a:cubicBezTo>
                  <a:cubicBezTo>
                    <a:pt x="93130" y="2210278"/>
                    <a:pt x="49924" y="2172401"/>
                    <a:pt x="11157" y="2135067"/>
                  </a:cubicBezTo>
                  <a:cubicBezTo>
                    <a:pt x="459" y="2124765"/>
                    <a:pt x="0" y="2080998"/>
                    <a:pt x="0" y="1071873"/>
                  </a:cubicBezTo>
                  <a:cubicBezTo>
                    <a:pt x="0" y="493025"/>
                    <a:pt x="1677" y="15053"/>
                    <a:pt x="3727" y="9712"/>
                  </a:cubicBezTo>
                  <a:cubicBezTo>
                    <a:pt x="7061" y="1023"/>
                    <a:pt x="42156" y="0"/>
                    <a:pt x="336954" y="0"/>
                  </a:cubicBezTo>
                  <a:lnTo>
                    <a:pt x="666454" y="0"/>
                  </a:lnTo>
                  <a:lnTo>
                    <a:pt x="1068760" y="403683"/>
                  </a:lnTo>
                  <a:cubicBezTo>
                    <a:pt x="1390142" y="726165"/>
                    <a:pt x="1478711" y="818480"/>
                    <a:pt x="1509074" y="862622"/>
                  </a:cubicBezTo>
                  <a:cubicBezTo>
                    <a:pt x="1529979" y="893014"/>
                    <a:pt x="1549268" y="920642"/>
                    <a:pt x="1551939" y="924019"/>
                  </a:cubicBezTo>
                  <a:cubicBezTo>
                    <a:pt x="1561193" y="935720"/>
                    <a:pt x="1620870" y="1056980"/>
                    <a:pt x="1620908" y="1064159"/>
                  </a:cubicBezTo>
                  <a:cubicBezTo>
                    <a:pt x="1620908" y="1068125"/>
                    <a:pt x="1624514" y="1078278"/>
                    <a:pt x="1628876" y="1086720"/>
                  </a:cubicBezTo>
                  <a:cubicBezTo>
                    <a:pt x="1641276" y="1110722"/>
                    <a:pt x="1668400" y="1212809"/>
                    <a:pt x="1679444" y="1277049"/>
                  </a:cubicBezTo>
                  <a:cubicBezTo>
                    <a:pt x="1691949" y="1349779"/>
                    <a:pt x="1689077" y="1536523"/>
                    <a:pt x="1674299" y="1611661"/>
                  </a:cubicBezTo>
                  <a:cubicBezTo>
                    <a:pt x="1663076" y="1668728"/>
                    <a:pt x="1640658" y="1749790"/>
                    <a:pt x="1633587" y="1758877"/>
                  </a:cubicBezTo>
                  <a:cubicBezTo>
                    <a:pt x="1630900" y="1762328"/>
                    <a:pt x="1626870" y="1772823"/>
                    <a:pt x="1624629" y="1782197"/>
                  </a:cubicBezTo>
                  <a:cubicBezTo>
                    <a:pt x="1617765" y="1810917"/>
                    <a:pt x="1550069" y="1943296"/>
                    <a:pt x="1531058" y="1965175"/>
                  </a:cubicBezTo>
                  <a:cubicBezTo>
                    <a:pt x="1526426" y="1970506"/>
                    <a:pt x="1522636" y="1977494"/>
                    <a:pt x="1522636" y="1980703"/>
                  </a:cubicBezTo>
                  <a:cubicBezTo>
                    <a:pt x="1522636" y="1983913"/>
                    <a:pt x="1517110" y="1990522"/>
                    <a:pt x="1510356" y="1995389"/>
                  </a:cubicBezTo>
                  <a:cubicBezTo>
                    <a:pt x="1503603" y="2000257"/>
                    <a:pt x="1498077" y="2007314"/>
                    <a:pt x="1498077" y="2011071"/>
                  </a:cubicBezTo>
                  <a:cubicBezTo>
                    <a:pt x="1498077" y="2014828"/>
                    <a:pt x="1489865" y="2025960"/>
                    <a:pt x="1479829" y="2035809"/>
                  </a:cubicBezTo>
                  <a:cubicBezTo>
                    <a:pt x="1469792" y="2045658"/>
                    <a:pt x="1461503" y="2056025"/>
                    <a:pt x="1461410" y="2058846"/>
                  </a:cubicBezTo>
                  <a:cubicBezTo>
                    <a:pt x="1460972" y="2072016"/>
                    <a:pt x="1320319" y="2201853"/>
                    <a:pt x="1270760" y="2234837"/>
                  </a:cubicBezTo>
                  <a:cubicBezTo>
                    <a:pt x="1263149" y="2239902"/>
                    <a:pt x="1249687" y="2249572"/>
                    <a:pt x="1240844" y="2256325"/>
                  </a:cubicBezTo>
                  <a:cubicBezTo>
                    <a:pt x="1232000" y="2263079"/>
                    <a:pt x="1219261" y="2271937"/>
                    <a:pt x="1212534" y="2276010"/>
                  </a:cubicBezTo>
                  <a:cubicBezTo>
                    <a:pt x="1195841" y="2286118"/>
                    <a:pt x="1075032" y="2345572"/>
                    <a:pt x="1056022" y="2353036"/>
                  </a:cubicBezTo>
                  <a:cubicBezTo>
                    <a:pt x="1047579" y="2356351"/>
                    <a:pt x="1035777" y="2361564"/>
                    <a:pt x="1029793" y="2364622"/>
                  </a:cubicBezTo>
                  <a:cubicBezTo>
                    <a:pt x="1023810" y="2367679"/>
                    <a:pt x="1006543" y="2371876"/>
                    <a:pt x="991421" y="2373949"/>
                  </a:cubicBezTo>
                  <a:cubicBezTo>
                    <a:pt x="976299" y="2376022"/>
                    <a:pt x="963927" y="2379697"/>
                    <a:pt x="963927" y="2382115"/>
                  </a:cubicBezTo>
                  <a:cubicBezTo>
                    <a:pt x="963927" y="2384534"/>
                    <a:pt x="946659" y="2389626"/>
                    <a:pt x="925554" y="2393433"/>
                  </a:cubicBezTo>
                  <a:cubicBezTo>
                    <a:pt x="904449" y="2397238"/>
                    <a:pt x="865078" y="2404499"/>
                    <a:pt x="838064" y="2409568"/>
                  </a:cubicBezTo>
                  <a:cubicBezTo>
                    <a:pt x="792744" y="2418072"/>
                    <a:pt x="595775" y="2423347"/>
                    <a:pt x="588675" y="2416247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8038B52-ADA8-490A-8B6F-4AFEA6DC1E99}"/>
                </a:ext>
              </a:extLst>
            </p:cNvPr>
            <p:cNvSpPr/>
            <p:nvPr/>
          </p:nvSpPr>
          <p:spPr bwMode="ltGray">
            <a:xfrm>
              <a:off x="8388747" y="3531534"/>
              <a:ext cx="1942794" cy="1949094"/>
            </a:xfrm>
            <a:custGeom>
              <a:avLst/>
              <a:gdLst>
                <a:gd name="connsiteX0" fmla="*/ 973708 w 1957294"/>
                <a:gd name="connsiteY0" fmla="*/ 989463 h 1963641"/>
                <a:gd name="connsiteX1" fmla="*/ 0 w 1957294"/>
                <a:gd name="connsiteY1" fmla="*/ 7098 h 1963641"/>
                <a:gd name="connsiteX2" fmla="*/ 977741 w 1957294"/>
                <a:gd name="connsiteY2" fmla="*/ 467 h 1963641"/>
                <a:gd name="connsiteX3" fmla="*/ 1955482 w 1957294"/>
                <a:gd name="connsiteY3" fmla="*/ 2020 h 1963641"/>
                <a:gd name="connsiteX4" fmla="*/ 1957036 w 1957294"/>
                <a:gd name="connsiteY4" fmla="*/ 982831 h 1963641"/>
                <a:gd name="connsiteX5" fmla="*/ 1953003 w 1957294"/>
                <a:gd name="connsiteY5" fmla="*/ 1963642 h 1963641"/>
                <a:gd name="connsiteX6" fmla="*/ 973708 w 1957294"/>
                <a:gd name="connsiteY6" fmla="*/ 989463 h 196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7294" h="1963641">
                  <a:moveTo>
                    <a:pt x="973708" y="989463"/>
                  </a:moveTo>
                  <a:cubicBezTo>
                    <a:pt x="438169" y="453664"/>
                    <a:pt x="0" y="11601"/>
                    <a:pt x="0" y="7098"/>
                  </a:cubicBezTo>
                  <a:cubicBezTo>
                    <a:pt x="0" y="305"/>
                    <a:pt x="166301" y="-823"/>
                    <a:pt x="977741" y="467"/>
                  </a:cubicBezTo>
                  <a:lnTo>
                    <a:pt x="1955482" y="2020"/>
                  </a:lnTo>
                  <a:lnTo>
                    <a:pt x="1957036" y="982831"/>
                  </a:lnTo>
                  <a:cubicBezTo>
                    <a:pt x="1957964" y="1568967"/>
                    <a:pt x="1956341" y="1963642"/>
                    <a:pt x="1953003" y="1963642"/>
                  </a:cubicBezTo>
                  <a:cubicBezTo>
                    <a:pt x="1949931" y="1963642"/>
                    <a:pt x="1509248" y="1525261"/>
                    <a:pt x="973708" y="98946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AE93C7A-0AED-4658-932C-C0946D03722F}"/>
                </a:ext>
              </a:extLst>
            </p:cNvPr>
            <p:cNvSpPr/>
            <p:nvPr/>
          </p:nvSpPr>
          <p:spPr bwMode="ltGray">
            <a:xfrm>
              <a:off x="5920935" y="2339081"/>
              <a:ext cx="2184430" cy="2152033"/>
            </a:xfrm>
            <a:custGeom>
              <a:avLst/>
              <a:gdLst>
                <a:gd name="connsiteX0" fmla="*/ 957455 w 2200734"/>
                <a:gd name="connsiteY0" fmla="*/ 2163178 h 2168095"/>
                <a:gd name="connsiteX1" fmla="*/ 807034 w 2200734"/>
                <a:gd name="connsiteY1" fmla="*/ 2133636 h 2168095"/>
                <a:gd name="connsiteX2" fmla="*/ 774532 w 2200734"/>
                <a:gd name="connsiteY2" fmla="*/ 2125046 h 2168095"/>
                <a:gd name="connsiteX3" fmla="*/ 737694 w 2200734"/>
                <a:gd name="connsiteY3" fmla="*/ 2115622 h 2168095"/>
                <a:gd name="connsiteX4" fmla="*/ 681170 w 2200734"/>
                <a:gd name="connsiteY4" fmla="*/ 2093279 h 2168095"/>
                <a:gd name="connsiteX5" fmla="*/ 480516 w 2200734"/>
                <a:gd name="connsiteY5" fmla="*/ 1987559 h 2168095"/>
                <a:gd name="connsiteX6" fmla="*/ 415073 w 2200734"/>
                <a:gd name="connsiteY6" fmla="*/ 1945093 h 2168095"/>
                <a:gd name="connsiteX7" fmla="*/ 209732 w 2200734"/>
                <a:gd name="connsiteY7" fmla="*/ 1737519 h 2168095"/>
                <a:gd name="connsiteX8" fmla="*/ 188463 w 2200734"/>
                <a:gd name="connsiteY8" fmla="*/ 1708765 h 2168095"/>
                <a:gd name="connsiteX9" fmla="*/ 171579 w 2200734"/>
                <a:gd name="connsiteY9" fmla="*/ 1683294 h 2168095"/>
                <a:gd name="connsiteX10" fmla="*/ 151566 w 2200734"/>
                <a:gd name="connsiteY10" fmla="*/ 1650651 h 2168095"/>
                <a:gd name="connsiteX11" fmla="*/ 64945 w 2200734"/>
                <a:gd name="connsiteY11" fmla="*/ 1481800 h 2168095"/>
                <a:gd name="connsiteX12" fmla="*/ 54925 w 2200734"/>
                <a:gd name="connsiteY12" fmla="*/ 1443428 h 2168095"/>
                <a:gd name="connsiteX13" fmla="*/ 49064 w 2200734"/>
                <a:gd name="connsiteY13" fmla="*/ 1427471 h 2168095"/>
                <a:gd name="connsiteX14" fmla="*/ 39217 w 2200734"/>
                <a:gd name="connsiteY14" fmla="*/ 1404448 h 2168095"/>
                <a:gd name="connsiteX15" fmla="*/ 25793 w 2200734"/>
                <a:gd name="connsiteY15" fmla="*/ 1353795 h 2168095"/>
                <a:gd name="connsiteX16" fmla="*/ 26316 w 2200734"/>
                <a:gd name="connsiteY16" fmla="*/ 813505 h 2168095"/>
                <a:gd name="connsiteX17" fmla="*/ 36453 w 2200734"/>
                <a:gd name="connsiteY17" fmla="*/ 773598 h 2168095"/>
                <a:gd name="connsiteX18" fmla="*/ 45752 w 2200734"/>
                <a:gd name="connsiteY18" fmla="*/ 743732 h 2168095"/>
                <a:gd name="connsiteX19" fmla="*/ 54924 w 2200734"/>
                <a:gd name="connsiteY19" fmla="*/ 717032 h 2168095"/>
                <a:gd name="connsiteX20" fmla="*/ 143849 w 2200734"/>
                <a:gd name="connsiteY20" fmla="*/ 528437 h 2168095"/>
                <a:gd name="connsiteX21" fmla="*/ 161905 w 2200734"/>
                <a:gd name="connsiteY21" fmla="*/ 500270 h 2168095"/>
                <a:gd name="connsiteX22" fmla="*/ 177312 w 2200734"/>
                <a:gd name="connsiteY22" fmla="*/ 475824 h 2168095"/>
                <a:gd name="connsiteX23" fmla="*/ 197537 w 2200734"/>
                <a:gd name="connsiteY23" fmla="*/ 447080 h 2168095"/>
                <a:gd name="connsiteX24" fmla="*/ 285389 w 2200734"/>
                <a:gd name="connsiteY24" fmla="*/ 340208 h 2168095"/>
                <a:gd name="connsiteX25" fmla="*/ 438923 w 2200734"/>
                <a:gd name="connsiteY25" fmla="*/ 205995 h 2168095"/>
                <a:gd name="connsiteX26" fmla="*/ 472421 w 2200734"/>
                <a:gd name="connsiteY26" fmla="*/ 181128 h 2168095"/>
                <a:gd name="connsiteX27" fmla="*/ 545677 w 2200734"/>
                <a:gd name="connsiteY27" fmla="*/ 138143 h 2168095"/>
                <a:gd name="connsiteX28" fmla="*/ 553259 w 2200734"/>
                <a:gd name="connsiteY28" fmla="*/ 133538 h 2168095"/>
                <a:gd name="connsiteX29" fmla="*/ 688757 w 2200734"/>
                <a:gd name="connsiteY29" fmla="*/ 70606 h 2168095"/>
                <a:gd name="connsiteX30" fmla="*/ 702965 w 2200734"/>
                <a:gd name="connsiteY30" fmla="*/ 65041 h 2168095"/>
                <a:gd name="connsiteX31" fmla="*/ 837730 w 2200734"/>
                <a:gd name="connsiteY31" fmla="*/ 23628 h 2168095"/>
                <a:gd name="connsiteX32" fmla="*/ 1592909 w 2200734"/>
                <a:gd name="connsiteY32" fmla="*/ 112 h 2168095"/>
                <a:gd name="connsiteX33" fmla="*/ 2200735 w 2200734"/>
                <a:gd name="connsiteY33" fmla="*/ 0 h 2168095"/>
                <a:gd name="connsiteX34" fmla="*/ 2200735 w 2200734"/>
                <a:gd name="connsiteY34" fmla="*/ 1083650 h 2168095"/>
                <a:gd name="connsiteX35" fmla="*/ 2200735 w 2200734"/>
                <a:gd name="connsiteY35" fmla="*/ 2167300 h 2168095"/>
                <a:gd name="connsiteX36" fmla="*/ 1595978 w 2200734"/>
                <a:gd name="connsiteY36" fmla="*/ 2168044 h 2168095"/>
                <a:gd name="connsiteX37" fmla="*/ 957454 w 2200734"/>
                <a:gd name="connsiteY37" fmla="*/ 2163178 h 216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00734" h="2168095">
                  <a:moveTo>
                    <a:pt x="957455" y="2163178"/>
                  </a:moveTo>
                  <a:cubicBezTo>
                    <a:pt x="857851" y="2146632"/>
                    <a:pt x="812541" y="2137733"/>
                    <a:pt x="807034" y="2133636"/>
                  </a:cubicBezTo>
                  <a:cubicBezTo>
                    <a:pt x="803656" y="2131124"/>
                    <a:pt x="789031" y="2127258"/>
                    <a:pt x="774532" y="2125046"/>
                  </a:cubicBezTo>
                  <a:cubicBezTo>
                    <a:pt x="760033" y="2122832"/>
                    <a:pt x="743456" y="2118592"/>
                    <a:pt x="737694" y="2115622"/>
                  </a:cubicBezTo>
                  <a:cubicBezTo>
                    <a:pt x="731932" y="2112652"/>
                    <a:pt x="706497" y="2102598"/>
                    <a:pt x="681170" y="2093279"/>
                  </a:cubicBezTo>
                  <a:cubicBezTo>
                    <a:pt x="621153" y="2071197"/>
                    <a:pt x="545573" y="2031375"/>
                    <a:pt x="480516" y="1987559"/>
                  </a:cubicBezTo>
                  <a:cubicBezTo>
                    <a:pt x="451814" y="1968228"/>
                    <a:pt x="422365" y="1949119"/>
                    <a:pt x="415073" y="1945093"/>
                  </a:cubicBezTo>
                  <a:cubicBezTo>
                    <a:pt x="387548" y="1929898"/>
                    <a:pt x="242079" y="1782847"/>
                    <a:pt x="209732" y="1737519"/>
                  </a:cubicBezTo>
                  <a:cubicBezTo>
                    <a:pt x="207320" y="1734139"/>
                    <a:pt x="197749" y="1721200"/>
                    <a:pt x="188463" y="1708765"/>
                  </a:cubicBezTo>
                  <a:cubicBezTo>
                    <a:pt x="179176" y="1696330"/>
                    <a:pt x="171579" y="1684868"/>
                    <a:pt x="171579" y="1683294"/>
                  </a:cubicBezTo>
                  <a:cubicBezTo>
                    <a:pt x="171579" y="1681719"/>
                    <a:pt x="162573" y="1667030"/>
                    <a:pt x="151566" y="1650651"/>
                  </a:cubicBezTo>
                  <a:cubicBezTo>
                    <a:pt x="133805" y="1624222"/>
                    <a:pt x="93391" y="1545442"/>
                    <a:pt x="64945" y="1481800"/>
                  </a:cubicBezTo>
                  <a:cubicBezTo>
                    <a:pt x="59434" y="1469471"/>
                    <a:pt x="54925" y="1452203"/>
                    <a:pt x="54925" y="1443428"/>
                  </a:cubicBezTo>
                  <a:cubicBezTo>
                    <a:pt x="54925" y="1434652"/>
                    <a:pt x="52288" y="1427471"/>
                    <a:pt x="49064" y="1427471"/>
                  </a:cubicBezTo>
                  <a:cubicBezTo>
                    <a:pt x="45840" y="1427471"/>
                    <a:pt x="41408" y="1417111"/>
                    <a:pt x="39217" y="1404448"/>
                  </a:cubicBezTo>
                  <a:cubicBezTo>
                    <a:pt x="37025" y="1391785"/>
                    <a:pt x="30984" y="1368991"/>
                    <a:pt x="25793" y="1353795"/>
                  </a:cubicBezTo>
                  <a:cubicBezTo>
                    <a:pt x="-8850" y="1252383"/>
                    <a:pt x="-8517" y="909645"/>
                    <a:pt x="26316" y="813505"/>
                  </a:cubicBezTo>
                  <a:cubicBezTo>
                    <a:pt x="31821" y="798310"/>
                    <a:pt x="36383" y="780351"/>
                    <a:pt x="36453" y="773598"/>
                  </a:cubicBezTo>
                  <a:cubicBezTo>
                    <a:pt x="36520" y="766844"/>
                    <a:pt x="40708" y="753405"/>
                    <a:pt x="45752" y="743732"/>
                  </a:cubicBezTo>
                  <a:cubicBezTo>
                    <a:pt x="50796" y="734060"/>
                    <a:pt x="54924" y="722045"/>
                    <a:pt x="54924" y="717032"/>
                  </a:cubicBezTo>
                  <a:cubicBezTo>
                    <a:pt x="54924" y="702170"/>
                    <a:pt x="129455" y="544102"/>
                    <a:pt x="143849" y="528437"/>
                  </a:cubicBezTo>
                  <a:cubicBezTo>
                    <a:pt x="147280" y="524702"/>
                    <a:pt x="155406" y="512027"/>
                    <a:pt x="161905" y="500270"/>
                  </a:cubicBezTo>
                  <a:cubicBezTo>
                    <a:pt x="168405" y="488513"/>
                    <a:pt x="175337" y="477513"/>
                    <a:pt x="177312" y="475824"/>
                  </a:cubicBezTo>
                  <a:cubicBezTo>
                    <a:pt x="179286" y="474135"/>
                    <a:pt x="188388" y="461201"/>
                    <a:pt x="197537" y="447080"/>
                  </a:cubicBezTo>
                  <a:cubicBezTo>
                    <a:pt x="212681" y="423710"/>
                    <a:pt x="232326" y="399812"/>
                    <a:pt x="285389" y="340208"/>
                  </a:cubicBezTo>
                  <a:cubicBezTo>
                    <a:pt x="322750" y="298242"/>
                    <a:pt x="386726" y="242317"/>
                    <a:pt x="438923" y="205995"/>
                  </a:cubicBezTo>
                  <a:cubicBezTo>
                    <a:pt x="455658" y="194350"/>
                    <a:pt x="470732" y="183160"/>
                    <a:pt x="472421" y="181128"/>
                  </a:cubicBezTo>
                  <a:cubicBezTo>
                    <a:pt x="477865" y="174577"/>
                    <a:pt x="539956" y="138143"/>
                    <a:pt x="545677" y="138143"/>
                  </a:cubicBezTo>
                  <a:cubicBezTo>
                    <a:pt x="548721" y="138143"/>
                    <a:pt x="552133" y="136071"/>
                    <a:pt x="553259" y="133538"/>
                  </a:cubicBezTo>
                  <a:cubicBezTo>
                    <a:pt x="556758" y="125665"/>
                    <a:pt x="675306" y="70606"/>
                    <a:pt x="688757" y="70606"/>
                  </a:cubicBezTo>
                  <a:cubicBezTo>
                    <a:pt x="693363" y="70606"/>
                    <a:pt x="699757" y="68102"/>
                    <a:pt x="702965" y="65041"/>
                  </a:cubicBezTo>
                  <a:cubicBezTo>
                    <a:pt x="711083" y="57295"/>
                    <a:pt x="786205" y="34211"/>
                    <a:pt x="837730" y="23628"/>
                  </a:cubicBezTo>
                  <a:cubicBezTo>
                    <a:pt x="947243" y="1137"/>
                    <a:pt x="976476" y="226"/>
                    <a:pt x="1592909" y="112"/>
                  </a:cubicBezTo>
                  <a:lnTo>
                    <a:pt x="2200735" y="0"/>
                  </a:lnTo>
                  <a:lnTo>
                    <a:pt x="2200735" y="1083650"/>
                  </a:lnTo>
                  <a:lnTo>
                    <a:pt x="2200735" y="2167300"/>
                  </a:lnTo>
                  <a:lnTo>
                    <a:pt x="1595978" y="2168044"/>
                  </a:lnTo>
                  <a:cubicBezTo>
                    <a:pt x="1255652" y="2168462"/>
                    <a:pt x="976457" y="2166334"/>
                    <a:pt x="957454" y="2163178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A7B5FB1-0B25-4D0F-B929-F3D47D38A838}"/>
                </a:ext>
              </a:extLst>
            </p:cNvPr>
            <p:cNvSpPr/>
            <p:nvPr/>
          </p:nvSpPr>
          <p:spPr bwMode="ltGray">
            <a:xfrm>
              <a:off x="8382685" y="1421907"/>
              <a:ext cx="1950103" cy="1952130"/>
            </a:xfrm>
            <a:custGeom>
              <a:avLst/>
              <a:gdLst>
                <a:gd name="connsiteX0" fmla="*/ 2525 w 1964658"/>
                <a:gd name="connsiteY0" fmla="*/ 1965203 h 1966700"/>
                <a:gd name="connsiteX1" fmla="*/ 0 w 1964658"/>
                <a:gd name="connsiteY1" fmla="*/ 1952923 h 1966700"/>
                <a:gd name="connsiteX2" fmla="*/ 1954086 w 1964658"/>
                <a:gd name="connsiteY2" fmla="*/ 0 h 1966700"/>
                <a:gd name="connsiteX3" fmla="*/ 1964659 w 1964658"/>
                <a:gd name="connsiteY3" fmla="*/ 979468 h 1966700"/>
                <a:gd name="connsiteX4" fmla="*/ 1956984 w 1964658"/>
                <a:gd name="connsiteY4" fmla="*/ 1961805 h 1966700"/>
                <a:gd name="connsiteX5" fmla="*/ 2525 w 1964658"/>
                <a:gd name="connsiteY5" fmla="*/ 1965203 h 19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4658" h="1966700">
                  <a:moveTo>
                    <a:pt x="2525" y="1965203"/>
                  </a:moveTo>
                  <a:cubicBezTo>
                    <a:pt x="1118" y="1963796"/>
                    <a:pt x="-19" y="1958270"/>
                    <a:pt x="0" y="1952923"/>
                  </a:cubicBezTo>
                  <a:cubicBezTo>
                    <a:pt x="62" y="1939618"/>
                    <a:pt x="1940818" y="0"/>
                    <a:pt x="1954086" y="0"/>
                  </a:cubicBezTo>
                  <a:cubicBezTo>
                    <a:pt x="1964046" y="0"/>
                    <a:pt x="1964659" y="56784"/>
                    <a:pt x="1964659" y="979468"/>
                  </a:cubicBezTo>
                  <a:cubicBezTo>
                    <a:pt x="1964659" y="1757420"/>
                    <a:pt x="1963080" y="1959527"/>
                    <a:pt x="1956984" y="1961805"/>
                  </a:cubicBezTo>
                  <a:cubicBezTo>
                    <a:pt x="1947464" y="1965364"/>
                    <a:pt x="6060" y="1968739"/>
                    <a:pt x="2525" y="196520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E47632C-6699-4AE7-93D3-B547EC574995}"/>
                </a:ext>
              </a:extLst>
            </p:cNvPr>
            <p:cNvSpPr/>
            <p:nvPr/>
          </p:nvSpPr>
          <p:spPr bwMode="ltGray">
            <a:xfrm>
              <a:off x="10479049" y="925306"/>
              <a:ext cx="1712951" cy="2451368"/>
            </a:xfrm>
            <a:custGeom>
              <a:avLst/>
              <a:gdLst>
                <a:gd name="connsiteX0" fmla="*/ 328799 w 1725736"/>
                <a:gd name="connsiteY0" fmla="*/ 2466535 h 2469664"/>
                <a:gd name="connsiteX1" fmla="*/ 5026 w 1725736"/>
                <a:gd name="connsiteY1" fmla="*/ 2457270 h 2469664"/>
                <a:gd name="connsiteX2" fmla="*/ 94 w 1725736"/>
                <a:gd name="connsiteY2" fmla="*/ 1391036 h 2469664"/>
                <a:gd name="connsiteX3" fmla="*/ 0 w 1725736"/>
                <a:gd name="connsiteY3" fmla="*/ 332421 h 2469664"/>
                <a:gd name="connsiteX4" fmla="*/ 41443 w 1725736"/>
                <a:gd name="connsiteY4" fmla="*/ 291932 h 2469664"/>
                <a:gd name="connsiteX5" fmla="*/ 183623 w 1725736"/>
                <a:gd name="connsiteY5" fmla="*/ 174907 h 2469664"/>
                <a:gd name="connsiteX6" fmla="*/ 190329 w 1725736"/>
                <a:gd name="connsiteY6" fmla="*/ 170091 h 2469664"/>
                <a:gd name="connsiteX7" fmla="*/ 210283 w 1725736"/>
                <a:gd name="connsiteY7" fmla="*/ 153669 h 2469664"/>
                <a:gd name="connsiteX8" fmla="*/ 233307 w 1725736"/>
                <a:gd name="connsiteY8" fmla="*/ 138262 h 2469664"/>
                <a:gd name="connsiteX9" fmla="*/ 310053 w 1725736"/>
                <a:gd name="connsiteY9" fmla="*/ 99088 h 2469664"/>
                <a:gd name="connsiteX10" fmla="*/ 393717 w 1725736"/>
                <a:gd name="connsiteY10" fmla="*/ 58334 h 2469664"/>
                <a:gd name="connsiteX11" fmla="*/ 427485 w 1725736"/>
                <a:gd name="connsiteY11" fmla="*/ 48663 h 2469664"/>
                <a:gd name="connsiteX12" fmla="*/ 457405 w 1725736"/>
                <a:gd name="connsiteY12" fmla="*/ 39578 h 2469664"/>
                <a:gd name="connsiteX13" fmla="*/ 494243 w 1725736"/>
                <a:gd name="connsiteY13" fmla="*/ 28698 h 2469664"/>
                <a:gd name="connsiteX14" fmla="*/ 561779 w 1725736"/>
                <a:gd name="connsiteY14" fmla="*/ 11887 h 2469664"/>
                <a:gd name="connsiteX15" fmla="*/ 924019 w 1725736"/>
                <a:gd name="connsiteY15" fmla="*/ 11795 h 2469664"/>
                <a:gd name="connsiteX16" fmla="*/ 991555 w 1725736"/>
                <a:gd name="connsiteY16" fmla="*/ 28698 h 2469664"/>
                <a:gd name="connsiteX17" fmla="*/ 1028393 w 1725736"/>
                <a:gd name="connsiteY17" fmla="*/ 39514 h 2469664"/>
                <a:gd name="connsiteX18" fmla="*/ 1055862 w 1725736"/>
                <a:gd name="connsiteY18" fmla="*/ 48302 h 2469664"/>
                <a:gd name="connsiteX19" fmla="*/ 1293897 w 1725736"/>
                <a:gd name="connsiteY19" fmla="*/ 166882 h 2469664"/>
                <a:gd name="connsiteX20" fmla="*/ 1476588 w 1725736"/>
                <a:gd name="connsiteY20" fmla="*/ 325702 h 2469664"/>
                <a:gd name="connsiteX21" fmla="*/ 1517902 w 1725736"/>
                <a:gd name="connsiteY21" fmla="*/ 374036 h 2469664"/>
                <a:gd name="connsiteX22" fmla="*/ 1544410 w 1725736"/>
                <a:gd name="connsiteY22" fmla="*/ 409749 h 2469664"/>
                <a:gd name="connsiteX23" fmla="*/ 1553748 w 1725736"/>
                <a:gd name="connsiteY23" fmla="*/ 420493 h 2469664"/>
                <a:gd name="connsiteX24" fmla="*/ 1559474 w 1725736"/>
                <a:gd name="connsiteY24" fmla="*/ 425933 h 2469664"/>
                <a:gd name="connsiteX25" fmla="*/ 1584032 w 1725736"/>
                <a:gd name="connsiteY25" fmla="*/ 468150 h 2469664"/>
                <a:gd name="connsiteX26" fmla="*/ 1608591 w 1725736"/>
                <a:gd name="connsiteY26" fmla="*/ 511827 h 2469664"/>
                <a:gd name="connsiteX27" fmla="*/ 1614731 w 1725736"/>
                <a:gd name="connsiteY27" fmla="*/ 518728 h 2469664"/>
                <a:gd name="connsiteX28" fmla="*/ 1620870 w 1725736"/>
                <a:gd name="connsiteY28" fmla="*/ 524258 h 2469664"/>
                <a:gd name="connsiteX29" fmla="*/ 1644508 w 1725736"/>
                <a:gd name="connsiteY29" fmla="*/ 581050 h 2469664"/>
                <a:gd name="connsiteX30" fmla="*/ 1679115 w 1725736"/>
                <a:gd name="connsiteY30" fmla="*/ 666080 h 2469664"/>
                <a:gd name="connsiteX31" fmla="*/ 1695552 w 1725736"/>
                <a:gd name="connsiteY31" fmla="*/ 712127 h 2469664"/>
                <a:gd name="connsiteX32" fmla="*/ 1706662 w 1725736"/>
                <a:gd name="connsiteY32" fmla="*/ 755105 h 2469664"/>
                <a:gd name="connsiteX33" fmla="*/ 1719063 w 1725736"/>
                <a:gd name="connsiteY33" fmla="*/ 816501 h 2469664"/>
                <a:gd name="connsiteX34" fmla="*/ 1719002 w 1725736"/>
                <a:gd name="connsiteY34" fmla="*/ 1154183 h 2469664"/>
                <a:gd name="connsiteX35" fmla="*/ 1706792 w 1725736"/>
                <a:gd name="connsiteY35" fmla="*/ 1212509 h 2469664"/>
                <a:gd name="connsiteX36" fmla="*/ 1677162 w 1725736"/>
                <a:gd name="connsiteY36" fmla="*/ 1312679 h 2469664"/>
                <a:gd name="connsiteX37" fmla="*/ 1669968 w 1725736"/>
                <a:gd name="connsiteY37" fmla="*/ 1335122 h 2469664"/>
                <a:gd name="connsiteX38" fmla="*/ 1658561 w 1725736"/>
                <a:gd name="connsiteY38" fmla="*/ 1363886 h 2469664"/>
                <a:gd name="connsiteX39" fmla="*/ 1591776 w 1725736"/>
                <a:gd name="connsiteY39" fmla="*/ 1493411 h 2469664"/>
                <a:gd name="connsiteX40" fmla="*/ 1577873 w 1725736"/>
                <a:gd name="connsiteY40" fmla="*/ 1519254 h 2469664"/>
                <a:gd name="connsiteX41" fmla="*/ 1573268 w 1725736"/>
                <a:gd name="connsiteY41" fmla="*/ 1526655 h 2469664"/>
                <a:gd name="connsiteX42" fmla="*/ 1547524 w 1725736"/>
                <a:gd name="connsiteY42" fmla="*/ 1559400 h 2469664"/>
                <a:gd name="connsiteX43" fmla="*/ 1512221 w 1725736"/>
                <a:gd name="connsiteY43" fmla="*/ 1603619 h 2469664"/>
                <a:gd name="connsiteX44" fmla="*/ 1498057 w 1725736"/>
                <a:gd name="connsiteY44" fmla="*/ 1622099 h 2469664"/>
                <a:gd name="connsiteX45" fmla="*/ 650680 w 1725736"/>
                <a:gd name="connsiteY45" fmla="*/ 2469661 h 2469664"/>
                <a:gd name="connsiteX46" fmla="*/ 328780 w 1725736"/>
                <a:gd name="connsiteY46" fmla="*/ 2466536 h 246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725736" h="2469664">
                  <a:moveTo>
                    <a:pt x="328799" y="2466535"/>
                  </a:moveTo>
                  <a:cubicBezTo>
                    <a:pt x="83066" y="2465266"/>
                    <a:pt x="8755" y="2463140"/>
                    <a:pt x="5026" y="2457270"/>
                  </a:cubicBezTo>
                  <a:cubicBezTo>
                    <a:pt x="2365" y="2453079"/>
                    <a:pt x="145" y="1973274"/>
                    <a:pt x="94" y="1391036"/>
                  </a:cubicBezTo>
                  <a:lnTo>
                    <a:pt x="0" y="332421"/>
                  </a:lnTo>
                  <a:lnTo>
                    <a:pt x="41443" y="291932"/>
                  </a:lnTo>
                  <a:cubicBezTo>
                    <a:pt x="102158" y="232614"/>
                    <a:pt x="172270" y="174907"/>
                    <a:pt x="183623" y="174907"/>
                  </a:cubicBezTo>
                  <a:cubicBezTo>
                    <a:pt x="187312" y="174907"/>
                    <a:pt x="190329" y="172740"/>
                    <a:pt x="190329" y="170091"/>
                  </a:cubicBezTo>
                  <a:cubicBezTo>
                    <a:pt x="190329" y="167442"/>
                    <a:pt x="199308" y="160052"/>
                    <a:pt x="210283" y="153669"/>
                  </a:cubicBezTo>
                  <a:cubicBezTo>
                    <a:pt x="221258" y="147286"/>
                    <a:pt x="231619" y="140353"/>
                    <a:pt x="233307" y="138262"/>
                  </a:cubicBezTo>
                  <a:cubicBezTo>
                    <a:pt x="234995" y="136172"/>
                    <a:pt x="269531" y="118543"/>
                    <a:pt x="310053" y="99088"/>
                  </a:cubicBezTo>
                  <a:cubicBezTo>
                    <a:pt x="350574" y="79632"/>
                    <a:pt x="388224" y="61293"/>
                    <a:pt x="393717" y="58334"/>
                  </a:cubicBezTo>
                  <a:cubicBezTo>
                    <a:pt x="399211" y="55375"/>
                    <a:pt x="414406" y="51023"/>
                    <a:pt x="427485" y="48663"/>
                  </a:cubicBezTo>
                  <a:cubicBezTo>
                    <a:pt x="440564" y="46304"/>
                    <a:pt x="454028" y="42215"/>
                    <a:pt x="457405" y="39578"/>
                  </a:cubicBezTo>
                  <a:cubicBezTo>
                    <a:pt x="460781" y="36940"/>
                    <a:pt x="477359" y="32044"/>
                    <a:pt x="494243" y="28698"/>
                  </a:cubicBezTo>
                  <a:cubicBezTo>
                    <a:pt x="511127" y="25352"/>
                    <a:pt x="541518" y="17787"/>
                    <a:pt x="561779" y="11887"/>
                  </a:cubicBezTo>
                  <a:cubicBezTo>
                    <a:pt x="616048" y="-3915"/>
                    <a:pt x="870305" y="-3979"/>
                    <a:pt x="924019" y="11795"/>
                  </a:cubicBezTo>
                  <a:cubicBezTo>
                    <a:pt x="944280" y="17745"/>
                    <a:pt x="974671" y="25352"/>
                    <a:pt x="991555" y="28698"/>
                  </a:cubicBezTo>
                  <a:cubicBezTo>
                    <a:pt x="1008439" y="32044"/>
                    <a:pt x="1025016" y="36912"/>
                    <a:pt x="1028393" y="39514"/>
                  </a:cubicBezTo>
                  <a:cubicBezTo>
                    <a:pt x="1031770" y="42117"/>
                    <a:pt x="1044131" y="46071"/>
                    <a:pt x="1055862" y="48302"/>
                  </a:cubicBezTo>
                  <a:cubicBezTo>
                    <a:pt x="1098148" y="56341"/>
                    <a:pt x="1219085" y="116588"/>
                    <a:pt x="1293897" y="166882"/>
                  </a:cubicBezTo>
                  <a:cubicBezTo>
                    <a:pt x="1351409" y="205546"/>
                    <a:pt x="1448196" y="289686"/>
                    <a:pt x="1476588" y="325702"/>
                  </a:cubicBezTo>
                  <a:cubicBezTo>
                    <a:pt x="1486719" y="338553"/>
                    <a:pt x="1505310" y="360303"/>
                    <a:pt x="1517902" y="374036"/>
                  </a:cubicBezTo>
                  <a:cubicBezTo>
                    <a:pt x="1530494" y="387769"/>
                    <a:pt x="1542423" y="403839"/>
                    <a:pt x="1544410" y="409749"/>
                  </a:cubicBezTo>
                  <a:cubicBezTo>
                    <a:pt x="1546396" y="415658"/>
                    <a:pt x="1550599" y="420493"/>
                    <a:pt x="1553748" y="420493"/>
                  </a:cubicBezTo>
                  <a:cubicBezTo>
                    <a:pt x="1556897" y="420493"/>
                    <a:pt x="1559474" y="422941"/>
                    <a:pt x="1559474" y="425933"/>
                  </a:cubicBezTo>
                  <a:cubicBezTo>
                    <a:pt x="1559474" y="428925"/>
                    <a:pt x="1570525" y="447923"/>
                    <a:pt x="1584032" y="468150"/>
                  </a:cubicBezTo>
                  <a:cubicBezTo>
                    <a:pt x="1597539" y="488377"/>
                    <a:pt x="1608591" y="508032"/>
                    <a:pt x="1608591" y="511827"/>
                  </a:cubicBezTo>
                  <a:cubicBezTo>
                    <a:pt x="1608591" y="515623"/>
                    <a:pt x="1611354" y="518728"/>
                    <a:pt x="1614731" y="518728"/>
                  </a:cubicBezTo>
                  <a:cubicBezTo>
                    <a:pt x="1618107" y="518728"/>
                    <a:pt x="1620870" y="521216"/>
                    <a:pt x="1620870" y="524258"/>
                  </a:cubicBezTo>
                  <a:cubicBezTo>
                    <a:pt x="1620870" y="527299"/>
                    <a:pt x="1631507" y="552856"/>
                    <a:pt x="1644508" y="581050"/>
                  </a:cubicBezTo>
                  <a:cubicBezTo>
                    <a:pt x="1657509" y="609244"/>
                    <a:pt x="1673082" y="647507"/>
                    <a:pt x="1679115" y="666080"/>
                  </a:cubicBezTo>
                  <a:cubicBezTo>
                    <a:pt x="1685148" y="684652"/>
                    <a:pt x="1692545" y="705373"/>
                    <a:pt x="1695552" y="712127"/>
                  </a:cubicBezTo>
                  <a:cubicBezTo>
                    <a:pt x="1698559" y="718881"/>
                    <a:pt x="1703558" y="738221"/>
                    <a:pt x="1706662" y="755105"/>
                  </a:cubicBezTo>
                  <a:cubicBezTo>
                    <a:pt x="1709765" y="771989"/>
                    <a:pt x="1715345" y="799617"/>
                    <a:pt x="1719063" y="816501"/>
                  </a:cubicBezTo>
                  <a:cubicBezTo>
                    <a:pt x="1727988" y="857032"/>
                    <a:pt x="1727956" y="1114223"/>
                    <a:pt x="1719002" y="1154183"/>
                  </a:cubicBezTo>
                  <a:cubicBezTo>
                    <a:pt x="1715226" y="1171067"/>
                    <a:pt x="1709732" y="1197314"/>
                    <a:pt x="1706792" y="1212509"/>
                  </a:cubicBezTo>
                  <a:cubicBezTo>
                    <a:pt x="1700827" y="1243344"/>
                    <a:pt x="1688065" y="1286488"/>
                    <a:pt x="1677162" y="1312679"/>
                  </a:cubicBezTo>
                  <a:cubicBezTo>
                    <a:pt x="1673205" y="1322185"/>
                    <a:pt x="1669968" y="1332284"/>
                    <a:pt x="1669968" y="1335122"/>
                  </a:cubicBezTo>
                  <a:cubicBezTo>
                    <a:pt x="1669968" y="1337960"/>
                    <a:pt x="1664834" y="1350904"/>
                    <a:pt x="1658561" y="1363886"/>
                  </a:cubicBezTo>
                  <a:cubicBezTo>
                    <a:pt x="1614260" y="1455556"/>
                    <a:pt x="1604122" y="1475217"/>
                    <a:pt x="1591776" y="1493411"/>
                  </a:cubicBezTo>
                  <a:cubicBezTo>
                    <a:pt x="1584129" y="1504679"/>
                    <a:pt x="1577873" y="1516308"/>
                    <a:pt x="1577873" y="1519254"/>
                  </a:cubicBezTo>
                  <a:cubicBezTo>
                    <a:pt x="1577873" y="1522199"/>
                    <a:pt x="1575801" y="1525530"/>
                    <a:pt x="1573268" y="1526655"/>
                  </a:cubicBezTo>
                  <a:cubicBezTo>
                    <a:pt x="1570736" y="1527781"/>
                    <a:pt x="1559151" y="1542516"/>
                    <a:pt x="1547524" y="1559400"/>
                  </a:cubicBezTo>
                  <a:cubicBezTo>
                    <a:pt x="1535897" y="1576284"/>
                    <a:pt x="1520011" y="1596183"/>
                    <a:pt x="1512221" y="1603619"/>
                  </a:cubicBezTo>
                  <a:cubicBezTo>
                    <a:pt x="1504431" y="1611056"/>
                    <a:pt x="1498057" y="1619372"/>
                    <a:pt x="1498057" y="1622099"/>
                  </a:cubicBezTo>
                  <a:cubicBezTo>
                    <a:pt x="1498057" y="1628246"/>
                    <a:pt x="654781" y="2471706"/>
                    <a:pt x="650680" y="2469661"/>
                  </a:cubicBezTo>
                  <a:cubicBezTo>
                    <a:pt x="649049" y="2468848"/>
                    <a:pt x="504194" y="2467441"/>
                    <a:pt x="328780" y="2466536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19D471C-8C87-42DA-B7E6-0F02BE93A9D2}"/>
                </a:ext>
              </a:extLst>
            </p:cNvPr>
            <p:cNvSpPr/>
            <p:nvPr/>
          </p:nvSpPr>
          <p:spPr bwMode="ltGray">
            <a:xfrm>
              <a:off x="8223342" y="25805"/>
              <a:ext cx="2152512" cy="3260920"/>
            </a:xfrm>
            <a:custGeom>
              <a:avLst/>
              <a:gdLst>
                <a:gd name="connsiteX0" fmla="*/ 837 w 2168578"/>
                <a:gd name="connsiteY0" fmla="*/ 3280654 h 3285258"/>
                <a:gd name="connsiteX1" fmla="*/ 7833 w 2168578"/>
                <a:gd name="connsiteY1" fmla="*/ 915350 h 3285258"/>
                <a:gd name="connsiteX2" fmla="*/ 17238 w 2168578"/>
                <a:gd name="connsiteY2" fmla="*/ 853954 h 3285258"/>
                <a:gd name="connsiteX3" fmla="*/ 25537 w 2168578"/>
                <a:gd name="connsiteY3" fmla="*/ 820185 h 3285258"/>
                <a:gd name="connsiteX4" fmla="*/ 34763 w 2168578"/>
                <a:gd name="connsiteY4" fmla="*/ 789487 h 3285258"/>
                <a:gd name="connsiteX5" fmla="*/ 74447 w 2168578"/>
                <a:gd name="connsiteY5" fmla="*/ 666694 h 3285258"/>
                <a:gd name="connsiteX6" fmla="*/ 83025 w 2168578"/>
                <a:gd name="connsiteY6" fmla="*/ 643670 h 3285258"/>
                <a:gd name="connsiteX7" fmla="*/ 93080 w 2168578"/>
                <a:gd name="connsiteY7" fmla="*/ 626786 h 3285258"/>
                <a:gd name="connsiteX8" fmla="*/ 99103 w 2168578"/>
                <a:gd name="connsiteY8" fmla="*/ 614068 h 3285258"/>
                <a:gd name="connsiteX9" fmla="*/ 108312 w 2168578"/>
                <a:gd name="connsiteY9" fmla="*/ 592141 h 3285258"/>
                <a:gd name="connsiteX10" fmla="*/ 117522 w 2168578"/>
                <a:gd name="connsiteY10" fmla="*/ 571091 h 3285258"/>
                <a:gd name="connsiteX11" fmla="*/ 123248 w 2168578"/>
                <a:gd name="connsiteY11" fmla="*/ 559250 h 3285258"/>
                <a:gd name="connsiteX12" fmla="*/ 133333 w 2168578"/>
                <a:gd name="connsiteY12" fmla="*/ 545516 h 3285258"/>
                <a:gd name="connsiteX13" fmla="*/ 174314 w 2168578"/>
                <a:gd name="connsiteY13" fmla="*/ 480458 h 3285258"/>
                <a:gd name="connsiteX14" fmla="*/ 178919 w 2168578"/>
                <a:gd name="connsiteY14" fmla="*/ 472456 h 3285258"/>
                <a:gd name="connsiteX15" fmla="*/ 317979 w 2168578"/>
                <a:gd name="connsiteY15" fmla="*/ 304189 h 3285258"/>
                <a:gd name="connsiteX16" fmla="*/ 533599 w 2168578"/>
                <a:gd name="connsiteY16" fmla="*/ 134256 h 3285258"/>
                <a:gd name="connsiteX17" fmla="*/ 702024 w 2168578"/>
                <a:gd name="connsiteY17" fmla="*/ 55798 h 3285258"/>
                <a:gd name="connsiteX18" fmla="*/ 716446 w 2168578"/>
                <a:gd name="connsiteY18" fmla="*/ 50279 h 3285258"/>
                <a:gd name="connsiteX19" fmla="*/ 866561 w 2168578"/>
                <a:gd name="connsiteY19" fmla="*/ 9441 h 3285258"/>
                <a:gd name="connsiteX20" fmla="*/ 1354663 w 2168578"/>
                <a:gd name="connsiteY20" fmla="*/ 19350 h 3285258"/>
                <a:gd name="connsiteX21" fmla="*/ 1403781 w 2168578"/>
                <a:gd name="connsiteY21" fmla="*/ 34752 h 3285258"/>
                <a:gd name="connsiteX22" fmla="*/ 1446451 w 2168578"/>
                <a:gd name="connsiteY22" fmla="*/ 50338 h 3285258"/>
                <a:gd name="connsiteX23" fmla="*/ 1463923 w 2168578"/>
                <a:gd name="connsiteY23" fmla="*/ 55798 h 3285258"/>
                <a:gd name="connsiteX24" fmla="*/ 1491859 w 2168578"/>
                <a:gd name="connsiteY24" fmla="*/ 64209 h 3285258"/>
                <a:gd name="connsiteX25" fmla="*/ 1568544 w 2168578"/>
                <a:gd name="connsiteY25" fmla="*/ 102582 h 3285258"/>
                <a:gd name="connsiteX26" fmla="*/ 1652437 w 2168578"/>
                <a:gd name="connsiteY26" fmla="*/ 149349 h 3285258"/>
                <a:gd name="connsiteX27" fmla="*/ 1658398 w 2168578"/>
                <a:gd name="connsiteY27" fmla="*/ 154032 h 3285258"/>
                <a:gd name="connsiteX28" fmla="*/ 1726113 w 2168578"/>
                <a:gd name="connsiteY28" fmla="*/ 197296 h 3285258"/>
                <a:gd name="connsiteX29" fmla="*/ 1766021 w 2168578"/>
                <a:gd name="connsiteY29" fmla="*/ 228896 h 3285258"/>
                <a:gd name="connsiteX30" fmla="*/ 1928722 w 2168578"/>
                <a:gd name="connsiteY30" fmla="*/ 390571 h 3285258"/>
                <a:gd name="connsiteX31" fmla="*/ 1957885 w 2168578"/>
                <a:gd name="connsiteY31" fmla="*/ 428151 h 3285258"/>
                <a:gd name="connsiteX32" fmla="*/ 1977839 w 2168578"/>
                <a:gd name="connsiteY32" fmla="*/ 459852 h 3285258"/>
                <a:gd name="connsiteX33" fmla="*/ 1982555 w 2168578"/>
                <a:gd name="connsiteY33" fmla="*/ 468178 h 3285258"/>
                <a:gd name="connsiteX34" fmla="*/ 2026957 w 2168578"/>
                <a:gd name="connsiteY34" fmla="*/ 539322 h 3285258"/>
                <a:gd name="connsiteX35" fmla="*/ 2031976 w 2168578"/>
                <a:gd name="connsiteY35" fmla="*/ 547994 h 3285258"/>
                <a:gd name="connsiteX36" fmla="*/ 2056956 w 2168578"/>
                <a:gd name="connsiteY36" fmla="*/ 593018 h 3285258"/>
                <a:gd name="connsiteX37" fmla="*/ 2082636 w 2168578"/>
                <a:gd name="connsiteY37" fmla="*/ 646657 h 3285258"/>
                <a:gd name="connsiteX38" fmla="*/ 2088353 w 2168578"/>
                <a:gd name="connsiteY38" fmla="*/ 666611 h 3285258"/>
                <a:gd name="connsiteX39" fmla="*/ 2093809 w 2168578"/>
                <a:gd name="connsiteY39" fmla="*/ 675903 h 3285258"/>
                <a:gd name="connsiteX40" fmla="*/ 2103439 w 2168578"/>
                <a:gd name="connsiteY40" fmla="*/ 698148 h 3285258"/>
                <a:gd name="connsiteX41" fmla="*/ 2113282 w 2168578"/>
                <a:gd name="connsiteY41" fmla="*/ 730381 h 3285258"/>
                <a:gd name="connsiteX42" fmla="*/ 2165641 w 2168578"/>
                <a:gd name="connsiteY42" fmla="*/ 1038143 h 3285258"/>
                <a:gd name="connsiteX43" fmla="*/ 2168579 w 2168578"/>
                <a:gd name="connsiteY43" fmla="*/ 1121029 h 3285258"/>
                <a:gd name="connsiteX44" fmla="*/ 1835982 w 2168578"/>
                <a:gd name="connsiteY44" fmla="*/ 1455640 h 3285258"/>
                <a:gd name="connsiteX45" fmla="*/ 8600 w 2168578"/>
                <a:gd name="connsiteY45" fmla="*/ 3285259 h 3285258"/>
                <a:gd name="connsiteX46" fmla="*/ 837 w 2168578"/>
                <a:gd name="connsiteY46" fmla="*/ 3280654 h 3285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68578" h="3285258">
                  <a:moveTo>
                    <a:pt x="837" y="3280654"/>
                  </a:moveTo>
                  <a:cubicBezTo>
                    <a:pt x="-2147" y="2841903"/>
                    <a:pt x="3478" y="939708"/>
                    <a:pt x="7833" y="915350"/>
                  </a:cubicBezTo>
                  <a:cubicBezTo>
                    <a:pt x="11153" y="896778"/>
                    <a:pt x="15385" y="869149"/>
                    <a:pt x="17238" y="853954"/>
                  </a:cubicBezTo>
                  <a:cubicBezTo>
                    <a:pt x="19090" y="838758"/>
                    <a:pt x="22824" y="823562"/>
                    <a:pt x="25537" y="820185"/>
                  </a:cubicBezTo>
                  <a:cubicBezTo>
                    <a:pt x="28249" y="816809"/>
                    <a:pt x="32400" y="802994"/>
                    <a:pt x="34763" y="789487"/>
                  </a:cubicBezTo>
                  <a:cubicBezTo>
                    <a:pt x="39512" y="762329"/>
                    <a:pt x="67297" y="676356"/>
                    <a:pt x="74447" y="666694"/>
                  </a:cubicBezTo>
                  <a:cubicBezTo>
                    <a:pt x="76946" y="663317"/>
                    <a:pt x="80806" y="652956"/>
                    <a:pt x="83025" y="643670"/>
                  </a:cubicBezTo>
                  <a:cubicBezTo>
                    <a:pt x="85242" y="634384"/>
                    <a:pt x="89768" y="626786"/>
                    <a:pt x="93080" y="626786"/>
                  </a:cubicBezTo>
                  <a:cubicBezTo>
                    <a:pt x="96393" y="626786"/>
                    <a:pt x="99103" y="621063"/>
                    <a:pt x="99103" y="614068"/>
                  </a:cubicBezTo>
                  <a:cubicBezTo>
                    <a:pt x="99103" y="607073"/>
                    <a:pt x="103247" y="597206"/>
                    <a:pt x="108312" y="592141"/>
                  </a:cubicBezTo>
                  <a:cubicBezTo>
                    <a:pt x="113377" y="587076"/>
                    <a:pt x="117522" y="577603"/>
                    <a:pt x="117522" y="571091"/>
                  </a:cubicBezTo>
                  <a:cubicBezTo>
                    <a:pt x="117522" y="564578"/>
                    <a:pt x="120099" y="559250"/>
                    <a:pt x="123248" y="559250"/>
                  </a:cubicBezTo>
                  <a:cubicBezTo>
                    <a:pt x="126397" y="559250"/>
                    <a:pt x="130935" y="553070"/>
                    <a:pt x="133333" y="545516"/>
                  </a:cubicBezTo>
                  <a:cubicBezTo>
                    <a:pt x="138345" y="529724"/>
                    <a:pt x="167459" y="483504"/>
                    <a:pt x="174314" y="480458"/>
                  </a:cubicBezTo>
                  <a:cubicBezTo>
                    <a:pt x="176846" y="479332"/>
                    <a:pt x="178919" y="475731"/>
                    <a:pt x="178919" y="472456"/>
                  </a:cubicBezTo>
                  <a:cubicBezTo>
                    <a:pt x="178919" y="458327"/>
                    <a:pt x="250284" y="371973"/>
                    <a:pt x="317979" y="304189"/>
                  </a:cubicBezTo>
                  <a:cubicBezTo>
                    <a:pt x="385431" y="236650"/>
                    <a:pt x="477371" y="164189"/>
                    <a:pt x="533599" y="134256"/>
                  </a:cubicBezTo>
                  <a:cubicBezTo>
                    <a:pt x="620291" y="88104"/>
                    <a:pt x="689642" y="55798"/>
                    <a:pt x="702024" y="55798"/>
                  </a:cubicBezTo>
                  <a:cubicBezTo>
                    <a:pt x="706748" y="55798"/>
                    <a:pt x="713238" y="53314"/>
                    <a:pt x="716446" y="50279"/>
                  </a:cubicBezTo>
                  <a:cubicBezTo>
                    <a:pt x="725724" y="41501"/>
                    <a:pt x="809616" y="18678"/>
                    <a:pt x="866561" y="9441"/>
                  </a:cubicBezTo>
                  <a:cubicBezTo>
                    <a:pt x="969735" y="-7294"/>
                    <a:pt x="1308670" y="-414"/>
                    <a:pt x="1354663" y="19350"/>
                  </a:cubicBezTo>
                  <a:cubicBezTo>
                    <a:pt x="1361417" y="22252"/>
                    <a:pt x="1383520" y="29183"/>
                    <a:pt x="1403781" y="34752"/>
                  </a:cubicBezTo>
                  <a:cubicBezTo>
                    <a:pt x="1424042" y="40321"/>
                    <a:pt x="1443243" y="47335"/>
                    <a:pt x="1446451" y="50338"/>
                  </a:cubicBezTo>
                  <a:cubicBezTo>
                    <a:pt x="1449660" y="53341"/>
                    <a:pt x="1457522" y="55798"/>
                    <a:pt x="1463923" y="55798"/>
                  </a:cubicBezTo>
                  <a:cubicBezTo>
                    <a:pt x="1470325" y="55798"/>
                    <a:pt x="1482896" y="59583"/>
                    <a:pt x="1491859" y="64209"/>
                  </a:cubicBezTo>
                  <a:cubicBezTo>
                    <a:pt x="1500822" y="68835"/>
                    <a:pt x="1535330" y="86103"/>
                    <a:pt x="1568544" y="102582"/>
                  </a:cubicBezTo>
                  <a:cubicBezTo>
                    <a:pt x="1653310" y="144639"/>
                    <a:pt x="1652437" y="144152"/>
                    <a:pt x="1652437" y="149349"/>
                  </a:cubicBezTo>
                  <a:cubicBezTo>
                    <a:pt x="1652437" y="151925"/>
                    <a:pt x="1655119" y="154032"/>
                    <a:pt x="1658398" y="154032"/>
                  </a:cubicBezTo>
                  <a:cubicBezTo>
                    <a:pt x="1663758" y="154032"/>
                    <a:pt x="1718576" y="189056"/>
                    <a:pt x="1726113" y="197296"/>
                  </a:cubicBezTo>
                  <a:cubicBezTo>
                    <a:pt x="1727801" y="199142"/>
                    <a:pt x="1745760" y="213362"/>
                    <a:pt x="1766021" y="228896"/>
                  </a:cubicBezTo>
                  <a:cubicBezTo>
                    <a:pt x="1799229" y="254356"/>
                    <a:pt x="1905633" y="360089"/>
                    <a:pt x="1928722" y="390571"/>
                  </a:cubicBezTo>
                  <a:cubicBezTo>
                    <a:pt x="1933787" y="397258"/>
                    <a:pt x="1946911" y="414169"/>
                    <a:pt x="1957885" y="428151"/>
                  </a:cubicBezTo>
                  <a:cubicBezTo>
                    <a:pt x="1968860" y="442133"/>
                    <a:pt x="1977839" y="456399"/>
                    <a:pt x="1977839" y="459852"/>
                  </a:cubicBezTo>
                  <a:cubicBezTo>
                    <a:pt x="1977839" y="463306"/>
                    <a:pt x="1979961" y="467053"/>
                    <a:pt x="1982555" y="468178"/>
                  </a:cubicBezTo>
                  <a:cubicBezTo>
                    <a:pt x="1989318" y="471113"/>
                    <a:pt x="2026957" y="531420"/>
                    <a:pt x="2026957" y="539322"/>
                  </a:cubicBezTo>
                  <a:cubicBezTo>
                    <a:pt x="2026957" y="542966"/>
                    <a:pt x="2029215" y="546868"/>
                    <a:pt x="2031976" y="547994"/>
                  </a:cubicBezTo>
                  <a:cubicBezTo>
                    <a:pt x="2034736" y="549119"/>
                    <a:pt x="2045977" y="569380"/>
                    <a:pt x="2056956" y="593018"/>
                  </a:cubicBezTo>
                  <a:cubicBezTo>
                    <a:pt x="2067935" y="616656"/>
                    <a:pt x="2079491" y="640793"/>
                    <a:pt x="2082636" y="646657"/>
                  </a:cubicBezTo>
                  <a:cubicBezTo>
                    <a:pt x="2085780" y="652520"/>
                    <a:pt x="2088353" y="661500"/>
                    <a:pt x="2088353" y="666611"/>
                  </a:cubicBezTo>
                  <a:cubicBezTo>
                    <a:pt x="2088353" y="671722"/>
                    <a:pt x="2090808" y="675903"/>
                    <a:pt x="2093809" y="675903"/>
                  </a:cubicBezTo>
                  <a:cubicBezTo>
                    <a:pt x="2096811" y="675903"/>
                    <a:pt x="2101144" y="685914"/>
                    <a:pt x="2103439" y="698148"/>
                  </a:cubicBezTo>
                  <a:cubicBezTo>
                    <a:pt x="2105734" y="710383"/>
                    <a:pt x="2110164" y="724888"/>
                    <a:pt x="2113282" y="730381"/>
                  </a:cubicBezTo>
                  <a:cubicBezTo>
                    <a:pt x="2135788" y="770029"/>
                    <a:pt x="2161492" y="921119"/>
                    <a:pt x="2165641" y="1038143"/>
                  </a:cubicBezTo>
                  <a:lnTo>
                    <a:pt x="2168579" y="1121029"/>
                  </a:lnTo>
                  <a:lnTo>
                    <a:pt x="1835982" y="1455640"/>
                  </a:lnTo>
                  <a:cubicBezTo>
                    <a:pt x="443875" y="2856179"/>
                    <a:pt x="15320" y="3285259"/>
                    <a:pt x="8600" y="3285259"/>
                  </a:cubicBezTo>
                  <a:cubicBezTo>
                    <a:pt x="4347" y="3285259"/>
                    <a:pt x="854" y="3283187"/>
                    <a:pt x="837" y="3280654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1143386-B9A9-4346-8564-8A5F72D30AE3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551940" y="431057"/>
            <a:ext cx="2699259" cy="122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6749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595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Rectangle 7">
            <a:extLst>
              <a:ext uri="{FF2B5EF4-FFF2-40B4-BE49-F238E27FC236}">
                <a16:creationId xmlns:a16="http://schemas.microsoft.com/office/drawing/2014/main" id="{D4468DF6-5EFF-493C-83CF-A7D69643D5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3176" y="0"/>
            <a:ext cx="12188824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3792C023-06C8-4A16-BBB2-DAE611A41AB7}"/>
              </a:ext>
            </a:extLst>
          </p:cNvPr>
          <p:cNvSpPr/>
          <p:nvPr/>
        </p:nvSpPr>
        <p:spPr>
          <a:xfrm>
            <a:off x="5522684" y="358775"/>
            <a:ext cx="155042" cy="6140450"/>
          </a:xfrm>
          <a:prstGeom prst="rect">
            <a:avLst/>
          </a:prstGeom>
          <a:solidFill>
            <a:schemeClr val="accent5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F57D5E4-EF63-4B58-A2AA-591EA01EF054}"/>
              </a:ext>
            </a:extLst>
          </p:cNvPr>
          <p:cNvSpPr/>
          <p:nvPr/>
        </p:nvSpPr>
        <p:spPr bwMode="ltGray">
          <a:xfrm>
            <a:off x="210457" y="358775"/>
            <a:ext cx="5390243" cy="6140450"/>
          </a:xfrm>
          <a:prstGeom prst="rect">
            <a:avLst/>
          </a:prstGeom>
          <a:solidFill>
            <a:schemeClr val="bg1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A2F0B70-3B5C-45A4-84B6-1E4FDE7A163E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243" y="751409"/>
            <a:ext cx="2005015" cy="9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2243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38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2D0323-DDFD-4C1E-88D5-33B89558B9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ocumenttype">
            <a:extLst>
              <a:ext uri="{FF2B5EF4-FFF2-40B4-BE49-F238E27FC236}">
                <a16:creationId xmlns:a16="http://schemas.microsoft.com/office/drawing/2014/main" id="{1A249EF7-8253-4FF9-882D-FA9C8406144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F29D07E-6282-4B46-8400-5CD989519589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B8634863-663E-45C0-B822-1793C399D8F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CCADB9-0C7A-43A5-B33E-149F4903D0E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414559" y="431058"/>
            <a:ext cx="2699259" cy="122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8247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52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A249EF7-8253-4FF9-882D-FA9C8406144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F29D07E-6282-4B46-8400-5CD989519589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B8634863-663E-45C0-B822-1793C399D8F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4" name="Rectangle 1">
            <a:extLst>
              <a:ext uri="{FF2B5EF4-FFF2-40B4-BE49-F238E27FC236}">
                <a16:creationId xmlns:a16="http://schemas.microsoft.com/office/drawing/2014/main" id="{6C69884B-C7CE-4743-AC9C-EC1F28719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5841A1D-69D1-445D-B95D-26C8CEF967B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414559" y="431058"/>
            <a:ext cx="2699259" cy="122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48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909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Rectangle 7">
            <a:extLst>
              <a:ext uri="{FF2B5EF4-FFF2-40B4-BE49-F238E27FC236}">
                <a16:creationId xmlns:a16="http://schemas.microsoft.com/office/drawing/2014/main" id="{D4468DF6-5EFF-493C-83CF-A7D69643D5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3176" y="0"/>
            <a:ext cx="12188824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3792C023-06C8-4A16-BBB2-DAE611A41AB7}"/>
              </a:ext>
            </a:extLst>
          </p:cNvPr>
          <p:cNvSpPr/>
          <p:nvPr/>
        </p:nvSpPr>
        <p:spPr>
          <a:xfrm>
            <a:off x="5522684" y="358775"/>
            <a:ext cx="155042" cy="6140450"/>
          </a:xfrm>
          <a:prstGeom prst="rect">
            <a:avLst/>
          </a:prstGeom>
          <a:solidFill>
            <a:schemeClr val="accent5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F57D5E4-EF63-4B58-A2AA-591EA01EF054}"/>
              </a:ext>
            </a:extLst>
          </p:cNvPr>
          <p:cNvSpPr/>
          <p:nvPr/>
        </p:nvSpPr>
        <p:spPr bwMode="ltGray">
          <a:xfrm>
            <a:off x="210457" y="358775"/>
            <a:ext cx="5390243" cy="6140450"/>
          </a:xfrm>
          <a:prstGeom prst="rect">
            <a:avLst/>
          </a:prstGeom>
          <a:solidFill>
            <a:schemeClr val="accent1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9CD4B3-1E2D-4DB8-8FDC-55BC1D553907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243" y="751409"/>
            <a:ext cx="2005015" cy="9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4738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685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err="1"/>
              <a:t>Sumber</a:t>
            </a:r>
            <a:r>
              <a:rPr lang="en-US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21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64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24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183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90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>
                <a:solidFill>
                  <a:schemeClr val="bg2"/>
                </a:solidFill>
              </a:rPr>
              <a:t>Sumber</a:t>
            </a:r>
            <a:r>
              <a:rPr lang="en-US" sz="800">
                <a:solidFill>
                  <a:schemeClr val="bg2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BB62-07D3-40E7-A401-9CCD175D66D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290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>
                <a:solidFill>
                  <a:schemeClr val="bg2"/>
                </a:solidFill>
              </a:rPr>
              <a:t>Sumber</a:t>
            </a:r>
            <a:r>
              <a:rPr lang="en-US" sz="800">
                <a:solidFill>
                  <a:schemeClr val="bg2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47F36A9-F5D7-4301-A6ED-4979B699F3F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002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>
                <a:solidFill>
                  <a:schemeClr val="bg2"/>
                </a:solidFill>
              </a:rPr>
              <a:t>Sumber</a:t>
            </a:r>
            <a:r>
              <a:rPr lang="en-US" sz="800">
                <a:solidFill>
                  <a:schemeClr val="bg2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C53F48-8CE4-4728-8B7C-6988F5889A7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0750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>
                <a:solidFill>
                  <a:schemeClr val="bg2"/>
                </a:solidFill>
              </a:rPr>
              <a:t>Sumber</a:t>
            </a:r>
            <a:r>
              <a:rPr lang="en-US" sz="800">
                <a:solidFill>
                  <a:schemeClr val="bg2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E46561-510D-45B6-95DF-ECB5915423A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027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umb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5D2B53-779C-48A0-8710-E197966CDB4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0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9C9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4" name="Picture 577">
            <a:extLst>
              <a:ext uri="{FF2B5EF4-FFF2-40B4-BE49-F238E27FC236}">
                <a16:creationId xmlns:a16="http://schemas.microsoft.com/office/drawing/2014/main" id="{0355C810-0E7D-404A-AB9D-745F75A586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14559" y="431058"/>
            <a:ext cx="2638502" cy="119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2D0323-DDFD-4C1E-88D5-33B89558B9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ocumenttype">
            <a:extLst>
              <a:ext uri="{FF2B5EF4-FFF2-40B4-BE49-F238E27FC236}">
                <a16:creationId xmlns:a16="http://schemas.microsoft.com/office/drawing/2014/main" id="{1A249EF7-8253-4FF9-882D-FA9C8406144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F29D07E-6282-4B46-8400-5CD989519589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B8634863-663E-45C0-B822-1793C399D8F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89976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3020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940C00-C774-4DCE-8DD6-1412FE93B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49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FA273C-7796-420D-8D5F-0022343F8CA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5443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7BCC4C-8554-4931-AD41-FCF9B9E5F0FC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383" y="2818435"/>
            <a:ext cx="2694666" cy="122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119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9C9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760F18C-4F47-48F9-976D-8AFC442270C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4" name="Picture 577">
            <a:extLst>
              <a:ext uri="{FF2B5EF4-FFF2-40B4-BE49-F238E27FC236}">
                <a16:creationId xmlns:a16="http://schemas.microsoft.com/office/drawing/2014/main" id="{0355C810-0E7D-404A-AB9D-745F75A586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14559" y="431058"/>
            <a:ext cx="2638502" cy="119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Documenttype">
            <a:extLst>
              <a:ext uri="{FF2B5EF4-FFF2-40B4-BE49-F238E27FC236}">
                <a16:creationId xmlns:a16="http://schemas.microsoft.com/office/drawing/2014/main" id="{4202F850-7676-42BC-BB11-EE2C86D5DC1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1B000492-7DCA-4D81-AB60-AF471CD07CC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683D8B4D-213E-49A1-898C-82F6C79029D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50180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42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ED643B1-662F-4C4B-BDB0-DD9B33B41F7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781C1EA-EFAA-4B34-942A-E2180417B072}"/>
              </a:ext>
            </a:extLst>
          </p:cNvPr>
          <p:cNvGrpSpPr/>
          <p:nvPr userDrawn="1"/>
        </p:nvGrpSpPr>
        <p:grpSpPr bwMode="ltGray">
          <a:xfrm>
            <a:off x="5920935" y="25805"/>
            <a:ext cx="6271065" cy="6806391"/>
            <a:chOff x="5920935" y="25805"/>
            <a:chExt cx="6271065" cy="6806391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1163D05-4CF6-4DDE-B4A7-43214FB120EB}"/>
                </a:ext>
              </a:extLst>
            </p:cNvPr>
            <p:cNvGrpSpPr/>
            <p:nvPr/>
          </p:nvGrpSpPr>
          <p:grpSpPr bwMode="ltGray">
            <a:xfrm>
              <a:off x="5920935" y="25806"/>
              <a:ext cx="6271065" cy="6806390"/>
              <a:chOff x="-7837089" y="-634999"/>
              <a:chExt cx="6271065" cy="680639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EB0D0E86-378C-4238-A2FC-B498B35BCBE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4682" y="-634999"/>
                <a:ext cx="2152513" cy="3260921"/>
              </a:xfrm>
              <a:custGeom>
                <a:avLst/>
                <a:gdLst>
                  <a:gd name="connsiteX0" fmla="*/ 1046402 w 2152513"/>
                  <a:gd name="connsiteY0" fmla="*/ 11 h 3260921"/>
                  <a:gd name="connsiteX1" fmla="*/ 1344627 w 2152513"/>
                  <a:gd name="connsiteY1" fmla="*/ 19207 h 3260921"/>
                  <a:gd name="connsiteX2" fmla="*/ 1393381 w 2152513"/>
                  <a:gd name="connsiteY2" fmla="*/ 34495 h 3260921"/>
                  <a:gd name="connsiteX3" fmla="*/ 1435735 w 2152513"/>
                  <a:gd name="connsiteY3" fmla="*/ 49965 h 3260921"/>
                  <a:gd name="connsiteX4" fmla="*/ 1453078 w 2152513"/>
                  <a:gd name="connsiteY4" fmla="*/ 55385 h 3260921"/>
                  <a:gd name="connsiteX5" fmla="*/ 1480807 w 2152513"/>
                  <a:gd name="connsiteY5" fmla="*/ 63733 h 3260921"/>
                  <a:gd name="connsiteX6" fmla="*/ 1556924 w 2152513"/>
                  <a:gd name="connsiteY6" fmla="*/ 101822 h 3260921"/>
                  <a:gd name="connsiteX7" fmla="*/ 1640195 w 2152513"/>
                  <a:gd name="connsiteY7" fmla="*/ 148243 h 3260921"/>
                  <a:gd name="connsiteX8" fmla="*/ 1646112 w 2152513"/>
                  <a:gd name="connsiteY8" fmla="*/ 152891 h 3260921"/>
                  <a:gd name="connsiteX9" fmla="*/ 1713325 w 2152513"/>
                  <a:gd name="connsiteY9" fmla="*/ 195835 h 3260921"/>
                  <a:gd name="connsiteX10" fmla="*/ 1752938 w 2152513"/>
                  <a:gd name="connsiteY10" fmla="*/ 227200 h 3260921"/>
                  <a:gd name="connsiteX11" fmla="*/ 1914433 w 2152513"/>
                  <a:gd name="connsiteY11" fmla="*/ 387678 h 3260921"/>
                  <a:gd name="connsiteX12" fmla="*/ 1943380 w 2152513"/>
                  <a:gd name="connsiteY12" fmla="*/ 424979 h 3260921"/>
                  <a:gd name="connsiteX13" fmla="*/ 1963186 w 2152513"/>
                  <a:gd name="connsiteY13" fmla="*/ 456445 h 3260921"/>
                  <a:gd name="connsiteX14" fmla="*/ 1967867 w 2152513"/>
                  <a:gd name="connsiteY14" fmla="*/ 464710 h 3260921"/>
                  <a:gd name="connsiteX15" fmla="*/ 2011940 w 2152513"/>
                  <a:gd name="connsiteY15" fmla="*/ 535327 h 3260921"/>
                  <a:gd name="connsiteX16" fmla="*/ 2016922 w 2152513"/>
                  <a:gd name="connsiteY16" fmla="*/ 543934 h 3260921"/>
                  <a:gd name="connsiteX17" fmla="*/ 2041717 w 2152513"/>
                  <a:gd name="connsiteY17" fmla="*/ 588625 h 3260921"/>
                  <a:gd name="connsiteX18" fmla="*/ 2067207 w 2152513"/>
                  <a:gd name="connsiteY18" fmla="*/ 641866 h 3260921"/>
                  <a:gd name="connsiteX19" fmla="*/ 2072882 w 2152513"/>
                  <a:gd name="connsiteY19" fmla="*/ 661673 h 3260921"/>
                  <a:gd name="connsiteX20" fmla="*/ 2078297 w 2152513"/>
                  <a:gd name="connsiteY20" fmla="*/ 670896 h 3260921"/>
                  <a:gd name="connsiteX21" fmla="*/ 2087856 w 2152513"/>
                  <a:gd name="connsiteY21" fmla="*/ 692976 h 3260921"/>
                  <a:gd name="connsiteX22" fmla="*/ 2097626 w 2152513"/>
                  <a:gd name="connsiteY22" fmla="*/ 724970 h 3260921"/>
                  <a:gd name="connsiteX23" fmla="*/ 2149597 w 2152513"/>
                  <a:gd name="connsiteY23" fmla="*/ 1030452 h 3260921"/>
                  <a:gd name="connsiteX24" fmla="*/ 2152513 w 2152513"/>
                  <a:gd name="connsiteY24" fmla="*/ 1112724 h 3260921"/>
                  <a:gd name="connsiteX25" fmla="*/ 1822380 w 2152513"/>
                  <a:gd name="connsiteY25" fmla="*/ 1444856 h 3260921"/>
                  <a:gd name="connsiteX26" fmla="*/ 8537 w 2152513"/>
                  <a:gd name="connsiteY26" fmla="*/ 3260921 h 3260921"/>
                  <a:gd name="connsiteX27" fmla="*/ 831 w 2152513"/>
                  <a:gd name="connsiteY27" fmla="*/ 3256350 h 3260921"/>
                  <a:gd name="connsiteX28" fmla="*/ 7775 w 2152513"/>
                  <a:gd name="connsiteY28" fmla="*/ 908569 h 3260921"/>
                  <a:gd name="connsiteX29" fmla="*/ 17111 w 2152513"/>
                  <a:gd name="connsiteY29" fmla="*/ 847628 h 3260921"/>
                  <a:gd name="connsiteX30" fmla="*/ 25348 w 2152513"/>
                  <a:gd name="connsiteY30" fmla="*/ 814109 h 3260921"/>
                  <a:gd name="connsiteX31" fmla="*/ 34506 w 2152513"/>
                  <a:gd name="connsiteY31" fmla="*/ 783638 h 3260921"/>
                  <a:gd name="connsiteX32" fmla="*/ 73896 w 2152513"/>
                  <a:gd name="connsiteY32" fmla="*/ 661755 h 3260921"/>
                  <a:gd name="connsiteX33" fmla="*/ 82410 w 2152513"/>
                  <a:gd name="connsiteY33" fmla="*/ 638902 h 3260921"/>
                  <a:gd name="connsiteX34" fmla="*/ 92391 w 2152513"/>
                  <a:gd name="connsiteY34" fmla="*/ 622143 h 3260921"/>
                  <a:gd name="connsiteX35" fmla="*/ 98369 w 2152513"/>
                  <a:gd name="connsiteY35" fmla="*/ 609519 h 3260921"/>
                  <a:gd name="connsiteX36" fmla="*/ 107510 w 2152513"/>
                  <a:gd name="connsiteY36" fmla="*/ 587754 h 3260921"/>
                  <a:gd name="connsiteX37" fmla="*/ 116652 w 2152513"/>
                  <a:gd name="connsiteY37" fmla="*/ 566860 h 3260921"/>
                  <a:gd name="connsiteX38" fmla="*/ 122335 w 2152513"/>
                  <a:gd name="connsiteY38" fmla="*/ 555107 h 3260921"/>
                  <a:gd name="connsiteX39" fmla="*/ 132345 w 2152513"/>
                  <a:gd name="connsiteY39" fmla="*/ 541475 h 3260921"/>
                  <a:gd name="connsiteX40" fmla="*/ 173023 w 2152513"/>
                  <a:gd name="connsiteY40" fmla="*/ 476899 h 3260921"/>
                  <a:gd name="connsiteX41" fmla="*/ 177594 w 2152513"/>
                  <a:gd name="connsiteY41" fmla="*/ 468956 h 3260921"/>
                  <a:gd name="connsiteX42" fmla="*/ 315623 w 2152513"/>
                  <a:gd name="connsiteY42" fmla="*/ 301936 h 3260921"/>
                  <a:gd name="connsiteX43" fmla="*/ 529646 w 2152513"/>
                  <a:gd name="connsiteY43" fmla="*/ 133262 h 3260921"/>
                  <a:gd name="connsiteX44" fmla="*/ 696823 w 2152513"/>
                  <a:gd name="connsiteY44" fmla="*/ 55385 h 3260921"/>
                  <a:gd name="connsiteX45" fmla="*/ 711138 w 2152513"/>
                  <a:gd name="connsiteY45" fmla="*/ 49907 h 3260921"/>
                  <a:gd name="connsiteX46" fmla="*/ 860141 w 2152513"/>
                  <a:gd name="connsiteY46" fmla="*/ 9371 h 3260921"/>
                  <a:gd name="connsiteX47" fmla="*/ 1046402 w 2152513"/>
                  <a:gd name="connsiteY47" fmla="*/ 11 h 3260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152513" h="3260921">
                    <a:moveTo>
                      <a:pt x="1046402" y="11"/>
                    </a:moveTo>
                    <a:cubicBezTo>
                      <a:pt x="1173979" y="-320"/>
                      <a:pt x="1316094" y="6946"/>
                      <a:pt x="1344627" y="19207"/>
                    </a:cubicBezTo>
                    <a:cubicBezTo>
                      <a:pt x="1351331" y="22087"/>
                      <a:pt x="1373270" y="28967"/>
                      <a:pt x="1393381" y="34495"/>
                    </a:cubicBezTo>
                    <a:cubicBezTo>
                      <a:pt x="1413492" y="40022"/>
                      <a:pt x="1432551" y="46984"/>
                      <a:pt x="1435735" y="49965"/>
                    </a:cubicBezTo>
                    <a:cubicBezTo>
                      <a:pt x="1438920" y="52946"/>
                      <a:pt x="1446724" y="55385"/>
                      <a:pt x="1453078" y="55385"/>
                    </a:cubicBezTo>
                    <a:cubicBezTo>
                      <a:pt x="1459432" y="55385"/>
                      <a:pt x="1471910" y="59142"/>
                      <a:pt x="1480807" y="63733"/>
                    </a:cubicBezTo>
                    <a:cubicBezTo>
                      <a:pt x="1489703" y="68325"/>
                      <a:pt x="1523956" y="85465"/>
                      <a:pt x="1556924" y="101822"/>
                    </a:cubicBezTo>
                    <a:cubicBezTo>
                      <a:pt x="1641062" y="143568"/>
                      <a:pt x="1640195" y="143084"/>
                      <a:pt x="1640195" y="148243"/>
                    </a:cubicBezTo>
                    <a:cubicBezTo>
                      <a:pt x="1640195" y="150800"/>
                      <a:pt x="1642857" y="152891"/>
                      <a:pt x="1646112" y="152891"/>
                    </a:cubicBezTo>
                    <a:cubicBezTo>
                      <a:pt x="1651432" y="152891"/>
                      <a:pt x="1705844" y="187656"/>
                      <a:pt x="1713325" y="195835"/>
                    </a:cubicBezTo>
                    <a:cubicBezTo>
                      <a:pt x="1715001" y="197667"/>
                      <a:pt x="1732827" y="211781"/>
                      <a:pt x="1752938" y="227200"/>
                    </a:cubicBezTo>
                    <a:cubicBezTo>
                      <a:pt x="1785900" y="252472"/>
                      <a:pt x="1891515" y="357421"/>
                      <a:pt x="1914433" y="387678"/>
                    </a:cubicBezTo>
                    <a:cubicBezTo>
                      <a:pt x="1919461" y="394315"/>
                      <a:pt x="1932487" y="411101"/>
                      <a:pt x="1943380" y="424979"/>
                    </a:cubicBezTo>
                    <a:cubicBezTo>
                      <a:pt x="1954274" y="438858"/>
                      <a:pt x="1963186" y="453018"/>
                      <a:pt x="1963186" y="456445"/>
                    </a:cubicBezTo>
                    <a:cubicBezTo>
                      <a:pt x="1963186" y="459874"/>
                      <a:pt x="1965293" y="463593"/>
                      <a:pt x="1967867" y="464710"/>
                    </a:cubicBezTo>
                    <a:cubicBezTo>
                      <a:pt x="1974580" y="467623"/>
                      <a:pt x="2011940" y="527483"/>
                      <a:pt x="2011940" y="535327"/>
                    </a:cubicBezTo>
                    <a:cubicBezTo>
                      <a:pt x="2011940" y="538944"/>
                      <a:pt x="2014182" y="542817"/>
                      <a:pt x="2016922" y="543934"/>
                    </a:cubicBezTo>
                    <a:cubicBezTo>
                      <a:pt x="2019662" y="545051"/>
                      <a:pt x="2030819" y="565162"/>
                      <a:pt x="2041717" y="588625"/>
                    </a:cubicBezTo>
                    <a:cubicBezTo>
                      <a:pt x="2052615" y="612088"/>
                      <a:pt x="2064085" y="636046"/>
                      <a:pt x="2067207" y="641866"/>
                    </a:cubicBezTo>
                    <a:cubicBezTo>
                      <a:pt x="2070328" y="647686"/>
                      <a:pt x="2072882" y="656600"/>
                      <a:pt x="2072882" y="661673"/>
                    </a:cubicBezTo>
                    <a:cubicBezTo>
                      <a:pt x="2072882" y="666746"/>
                      <a:pt x="2075318" y="670896"/>
                      <a:pt x="2078297" y="670896"/>
                    </a:cubicBezTo>
                    <a:cubicBezTo>
                      <a:pt x="2081277" y="670896"/>
                      <a:pt x="2085578" y="680833"/>
                      <a:pt x="2087856" y="692976"/>
                    </a:cubicBezTo>
                    <a:cubicBezTo>
                      <a:pt x="2090134" y="705120"/>
                      <a:pt x="2094531" y="719518"/>
                      <a:pt x="2097626" y="724970"/>
                    </a:cubicBezTo>
                    <a:cubicBezTo>
                      <a:pt x="2119965" y="764324"/>
                      <a:pt x="2145479" y="914295"/>
                      <a:pt x="2149597" y="1030452"/>
                    </a:cubicBezTo>
                    <a:lnTo>
                      <a:pt x="2152513" y="1112724"/>
                    </a:lnTo>
                    <a:lnTo>
                      <a:pt x="1822380" y="1444856"/>
                    </a:lnTo>
                    <a:cubicBezTo>
                      <a:pt x="440587" y="2835020"/>
                      <a:pt x="15207" y="3260921"/>
                      <a:pt x="8537" y="3260921"/>
                    </a:cubicBezTo>
                    <a:cubicBezTo>
                      <a:pt x="4315" y="3260921"/>
                      <a:pt x="848" y="3258864"/>
                      <a:pt x="831" y="3256350"/>
                    </a:cubicBezTo>
                    <a:cubicBezTo>
                      <a:pt x="-2131" y="2820850"/>
                      <a:pt x="3452" y="932747"/>
                      <a:pt x="7775" y="908569"/>
                    </a:cubicBezTo>
                    <a:cubicBezTo>
                      <a:pt x="11071" y="890135"/>
                      <a:pt x="15271" y="862710"/>
                      <a:pt x="17111" y="847628"/>
                    </a:cubicBezTo>
                    <a:cubicBezTo>
                      <a:pt x="18949" y="832544"/>
                      <a:pt x="22655" y="817461"/>
                      <a:pt x="25348" y="814109"/>
                    </a:cubicBezTo>
                    <a:cubicBezTo>
                      <a:pt x="28040" y="810758"/>
                      <a:pt x="32160" y="797045"/>
                      <a:pt x="34506" y="783638"/>
                    </a:cubicBezTo>
                    <a:cubicBezTo>
                      <a:pt x="39220" y="756682"/>
                      <a:pt x="66799" y="671345"/>
                      <a:pt x="73896" y="661755"/>
                    </a:cubicBezTo>
                    <a:cubicBezTo>
                      <a:pt x="76376" y="658403"/>
                      <a:pt x="80208" y="648119"/>
                      <a:pt x="82410" y="638902"/>
                    </a:cubicBezTo>
                    <a:cubicBezTo>
                      <a:pt x="84611" y="629684"/>
                      <a:pt x="89103" y="622143"/>
                      <a:pt x="92391" y="622143"/>
                    </a:cubicBezTo>
                    <a:cubicBezTo>
                      <a:pt x="95679" y="622143"/>
                      <a:pt x="98369" y="616462"/>
                      <a:pt x="98369" y="609519"/>
                    </a:cubicBezTo>
                    <a:cubicBezTo>
                      <a:pt x="98369" y="602576"/>
                      <a:pt x="102482" y="592782"/>
                      <a:pt x="107510" y="587754"/>
                    </a:cubicBezTo>
                    <a:cubicBezTo>
                      <a:pt x="112537" y="582727"/>
                      <a:pt x="116652" y="573324"/>
                      <a:pt x="116652" y="566860"/>
                    </a:cubicBezTo>
                    <a:cubicBezTo>
                      <a:pt x="116652" y="560396"/>
                      <a:pt x="119209" y="555107"/>
                      <a:pt x="122335" y="555107"/>
                    </a:cubicBezTo>
                    <a:cubicBezTo>
                      <a:pt x="125461" y="555107"/>
                      <a:pt x="129965" y="548973"/>
                      <a:pt x="132345" y="541475"/>
                    </a:cubicBezTo>
                    <a:cubicBezTo>
                      <a:pt x="137320" y="525800"/>
                      <a:pt x="166219" y="479922"/>
                      <a:pt x="173023" y="476899"/>
                    </a:cubicBezTo>
                    <a:cubicBezTo>
                      <a:pt x="175536" y="475781"/>
                      <a:pt x="177594" y="472207"/>
                      <a:pt x="177594" y="468956"/>
                    </a:cubicBezTo>
                    <a:cubicBezTo>
                      <a:pt x="177594" y="454932"/>
                      <a:pt x="248430" y="369217"/>
                      <a:pt x="315623" y="301936"/>
                    </a:cubicBezTo>
                    <a:cubicBezTo>
                      <a:pt x="382576" y="234897"/>
                      <a:pt x="473835" y="162973"/>
                      <a:pt x="529646" y="133262"/>
                    </a:cubicBezTo>
                    <a:cubicBezTo>
                      <a:pt x="615696" y="87451"/>
                      <a:pt x="684533" y="55385"/>
                      <a:pt x="696823" y="55385"/>
                    </a:cubicBezTo>
                    <a:cubicBezTo>
                      <a:pt x="701512" y="55385"/>
                      <a:pt x="707954" y="52919"/>
                      <a:pt x="711138" y="49907"/>
                    </a:cubicBezTo>
                    <a:cubicBezTo>
                      <a:pt x="720348" y="41194"/>
                      <a:pt x="803618" y="18540"/>
                      <a:pt x="860141" y="9371"/>
                    </a:cubicBezTo>
                    <a:cubicBezTo>
                      <a:pt x="898545" y="3142"/>
                      <a:pt x="969857" y="209"/>
                      <a:pt x="1046402" y="1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DC7B063B-97FA-4EA5-9D0F-094D258A90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64500"/>
                <a:ext cx="1712951" cy="2451369"/>
              </a:xfrm>
              <a:custGeom>
                <a:avLst/>
                <a:gdLst>
                  <a:gd name="connsiteX0" fmla="*/ 737602 w 1712951"/>
                  <a:gd name="connsiteY0" fmla="*/ 1 h 2451369"/>
                  <a:gd name="connsiteX1" fmla="*/ 917173 w 1712951"/>
                  <a:gd name="connsiteY1" fmla="*/ 11709 h 2451369"/>
                  <a:gd name="connsiteX2" fmla="*/ 984209 w 1712951"/>
                  <a:gd name="connsiteY2" fmla="*/ 28486 h 2451369"/>
                  <a:gd name="connsiteX3" fmla="*/ 1020774 w 1712951"/>
                  <a:gd name="connsiteY3" fmla="*/ 39222 h 2451369"/>
                  <a:gd name="connsiteX4" fmla="*/ 1048040 w 1712951"/>
                  <a:gd name="connsiteY4" fmla="*/ 47945 h 2451369"/>
                  <a:gd name="connsiteX5" fmla="*/ 1284311 w 1712951"/>
                  <a:gd name="connsiteY5" fmla="*/ 165647 h 2451369"/>
                  <a:gd name="connsiteX6" fmla="*/ 1465649 w 1712951"/>
                  <a:gd name="connsiteY6" fmla="*/ 323290 h 2451369"/>
                  <a:gd name="connsiteX7" fmla="*/ 1506657 w 1712951"/>
                  <a:gd name="connsiteY7" fmla="*/ 371266 h 2451369"/>
                  <a:gd name="connsiteX8" fmla="*/ 1532968 w 1712951"/>
                  <a:gd name="connsiteY8" fmla="*/ 406715 h 2451369"/>
                  <a:gd name="connsiteX9" fmla="*/ 1542237 w 1712951"/>
                  <a:gd name="connsiteY9" fmla="*/ 417379 h 2451369"/>
                  <a:gd name="connsiteX10" fmla="*/ 1547921 w 1712951"/>
                  <a:gd name="connsiteY10" fmla="*/ 422779 h 2451369"/>
                  <a:gd name="connsiteX11" fmla="*/ 1572297 w 1712951"/>
                  <a:gd name="connsiteY11" fmla="*/ 464683 h 2451369"/>
                  <a:gd name="connsiteX12" fmla="*/ 1596674 w 1712951"/>
                  <a:gd name="connsiteY12" fmla="*/ 508036 h 2451369"/>
                  <a:gd name="connsiteX13" fmla="*/ 1602768 w 1712951"/>
                  <a:gd name="connsiteY13" fmla="*/ 514886 h 2451369"/>
                  <a:gd name="connsiteX14" fmla="*/ 1608862 w 1712951"/>
                  <a:gd name="connsiteY14" fmla="*/ 520375 h 2451369"/>
                  <a:gd name="connsiteX15" fmla="*/ 1632325 w 1712951"/>
                  <a:gd name="connsiteY15" fmla="*/ 576746 h 2451369"/>
                  <a:gd name="connsiteX16" fmla="*/ 1666675 w 1712951"/>
                  <a:gd name="connsiteY16" fmla="*/ 661147 h 2451369"/>
                  <a:gd name="connsiteX17" fmla="*/ 1682991 w 1712951"/>
                  <a:gd name="connsiteY17" fmla="*/ 706852 h 2451369"/>
                  <a:gd name="connsiteX18" fmla="*/ 1694018 w 1712951"/>
                  <a:gd name="connsiteY18" fmla="*/ 749512 h 2451369"/>
                  <a:gd name="connsiteX19" fmla="*/ 1706327 w 1712951"/>
                  <a:gd name="connsiteY19" fmla="*/ 810453 h 2451369"/>
                  <a:gd name="connsiteX20" fmla="*/ 1706267 w 1712951"/>
                  <a:gd name="connsiteY20" fmla="*/ 1145634 h 2451369"/>
                  <a:gd name="connsiteX21" fmla="*/ 1694147 w 1712951"/>
                  <a:gd name="connsiteY21" fmla="*/ 1203527 h 2451369"/>
                  <a:gd name="connsiteX22" fmla="*/ 1664737 w 1712951"/>
                  <a:gd name="connsiteY22" fmla="*/ 1302955 h 2451369"/>
                  <a:gd name="connsiteX23" fmla="*/ 1657596 w 1712951"/>
                  <a:gd name="connsiteY23" fmla="*/ 1325232 h 2451369"/>
                  <a:gd name="connsiteX24" fmla="*/ 1646274 w 1712951"/>
                  <a:gd name="connsiteY24" fmla="*/ 1353783 h 2451369"/>
                  <a:gd name="connsiteX25" fmla="*/ 1579983 w 1712951"/>
                  <a:gd name="connsiteY25" fmla="*/ 1482348 h 2451369"/>
                  <a:gd name="connsiteX26" fmla="*/ 1566183 w 1712951"/>
                  <a:gd name="connsiteY26" fmla="*/ 1508000 h 2451369"/>
                  <a:gd name="connsiteX27" fmla="*/ 1561612 w 1712951"/>
                  <a:gd name="connsiteY27" fmla="*/ 1515346 h 2451369"/>
                  <a:gd name="connsiteX28" fmla="*/ 1536059 w 1712951"/>
                  <a:gd name="connsiteY28" fmla="*/ 1547849 h 2451369"/>
                  <a:gd name="connsiteX29" fmla="*/ 1501018 w 1712951"/>
                  <a:gd name="connsiteY29" fmla="*/ 1591740 h 2451369"/>
                  <a:gd name="connsiteX30" fmla="*/ 1486959 w 1712951"/>
                  <a:gd name="connsiteY30" fmla="*/ 1610083 h 2451369"/>
                  <a:gd name="connsiteX31" fmla="*/ 645859 w 1712951"/>
                  <a:gd name="connsiteY31" fmla="*/ 2451366 h 2451369"/>
                  <a:gd name="connsiteX32" fmla="*/ 326344 w 1712951"/>
                  <a:gd name="connsiteY32" fmla="*/ 2448264 h 2451369"/>
                  <a:gd name="connsiteX33" fmla="*/ 326363 w 1712951"/>
                  <a:gd name="connsiteY33" fmla="*/ 2448263 h 2451369"/>
                  <a:gd name="connsiteX34" fmla="*/ 4989 w 1712951"/>
                  <a:gd name="connsiteY34" fmla="*/ 2439067 h 2451369"/>
                  <a:gd name="connsiteX35" fmla="*/ 93 w 1712951"/>
                  <a:gd name="connsiteY35" fmla="*/ 1380732 h 2451369"/>
                  <a:gd name="connsiteX36" fmla="*/ 0 w 1712951"/>
                  <a:gd name="connsiteY36" fmla="*/ 329959 h 2451369"/>
                  <a:gd name="connsiteX37" fmla="*/ 41136 w 1712951"/>
                  <a:gd name="connsiteY37" fmla="*/ 289770 h 2451369"/>
                  <a:gd name="connsiteX38" fmla="*/ 182263 w 1712951"/>
                  <a:gd name="connsiteY38" fmla="*/ 173612 h 2451369"/>
                  <a:gd name="connsiteX39" fmla="*/ 188919 w 1712951"/>
                  <a:gd name="connsiteY39" fmla="*/ 168832 h 2451369"/>
                  <a:gd name="connsiteX40" fmla="*/ 208725 w 1712951"/>
                  <a:gd name="connsiteY40" fmla="*/ 152532 h 2451369"/>
                  <a:gd name="connsiteX41" fmla="*/ 231578 w 1712951"/>
                  <a:gd name="connsiteY41" fmla="*/ 137239 h 2451369"/>
                  <a:gd name="connsiteX42" fmla="*/ 307756 w 1712951"/>
                  <a:gd name="connsiteY42" fmla="*/ 98355 h 2451369"/>
                  <a:gd name="connsiteX43" fmla="*/ 390800 w 1712951"/>
                  <a:gd name="connsiteY43" fmla="*/ 57903 h 2451369"/>
                  <a:gd name="connsiteX44" fmla="*/ 424318 w 1712951"/>
                  <a:gd name="connsiteY44" fmla="*/ 48304 h 2451369"/>
                  <a:gd name="connsiteX45" fmla="*/ 454016 w 1712951"/>
                  <a:gd name="connsiteY45" fmla="*/ 39286 h 2451369"/>
                  <a:gd name="connsiteX46" fmla="*/ 490581 w 1712951"/>
                  <a:gd name="connsiteY46" fmla="*/ 28486 h 2451369"/>
                  <a:gd name="connsiteX47" fmla="*/ 557617 w 1712951"/>
                  <a:gd name="connsiteY47" fmla="*/ 11800 h 2451369"/>
                  <a:gd name="connsiteX48" fmla="*/ 737602 w 1712951"/>
                  <a:gd name="connsiteY48" fmla="*/ 1 h 2451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712951" h="2451369">
                    <a:moveTo>
                      <a:pt x="737602" y="1"/>
                    </a:moveTo>
                    <a:cubicBezTo>
                      <a:pt x="814093" y="-18"/>
                      <a:pt x="890515" y="3880"/>
                      <a:pt x="917173" y="11709"/>
                    </a:cubicBezTo>
                    <a:cubicBezTo>
                      <a:pt x="937284" y="17615"/>
                      <a:pt x="967450" y="25165"/>
                      <a:pt x="984209" y="28486"/>
                    </a:cubicBezTo>
                    <a:cubicBezTo>
                      <a:pt x="1000968" y="31808"/>
                      <a:pt x="1017422" y="36640"/>
                      <a:pt x="1020774" y="39222"/>
                    </a:cubicBezTo>
                    <a:cubicBezTo>
                      <a:pt x="1024126" y="41806"/>
                      <a:pt x="1036395" y="45731"/>
                      <a:pt x="1048040" y="47945"/>
                    </a:cubicBezTo>
                    <a:cubicBezTo>
                      <a:pt x="1090012" y="55925"/>
                      <a:pt x="1210053" y="115725"/>
                      <a:pt x="1284311" y="165647"/>
                    </a:cubicBezTo>
                    <a:cubicBezTo>
                      <a:pt x="1341397" y="204024"/>
                      <a:pt x="1437467" y="287541"/>
                      <a:pt x="1465649" y="323290"/>
                    </a:cubicBezTo>
                    <a:cubicBezTo>
                      <a:pt x="1475705" y="336046"/>
                      <a:pt x="1494158" y="357635"/>
                      <a:pt x="1506657" y="371266"/>
                    </a:cubicBezTo>
                    <a:cubicBezTo>
                      <a:pt x="1519155" y="384897"/>
                      <a:pt x="1530996" y="400848"/>
                      <a:pt x="1532968" y="406715"/>
                    </a:cubicBezTo>
                    <a:cubicBezTo>
                      <a:pt x="1534940" y="412580"/>
                      <a:pt x="1539111" y="417379"/>
                      <a:pt x="1542237" y="417379"/>
                    </a:cubicBezTo>
                    <a:cubicBezTo>
                      <a:pt x="1545363" y="417379"/>
                      <a:pt x="1547921" y="419809"/>
                      <a:pt x="1547921" y="422779"/>
                    </a:cubicBezTo>
                    <a:cubicBezTo>
                      <a:pt x="1547921" y="425748"/>
                      <a:pt x="1558890" y="444606"/>
                      <a:pt x="1572297" y="464683"/>
                    </a:cubicBezTo>
                    <a:cubicBezTo>
                      <a:pt x="1585704" y="484760"/>
                      <a:pt x="1596674" y="504269"/>
                      <a:pt x="1596674" y="508036"/>
                    </a:cubicBezTo>
                    <a:cubicBezTo>
                      <a:pt x="1596674" y="511804"/>
                      <a:pt x="1599416" y="514886"/>
                      <a:pt x="1602768" y="514886"/>
                    </a:cubicBezTo>
                    <a:cubicBezTo>
                      <a:pt x="1606119" y="514886"/>
                      <a:pt x="1608862" y="517356"/>
                      <a:pt x="1608862" y="520375"/>
                    </a:cubicBezTo>
                    <a:cubicBezTo>
                      <a:pt x="1608862" y="523394"/>
                      <a:pt x="1619420" y="548761"/>
                      <a:pt x="1632325" y="576746"/>
                    </a:cubicBezTo>
                    <a:cubicBezTo>
                      <a:pt x="1645229" y="604732"/>
                      <a:pt x="1660687" y="642711"/>
                      <a:pt x="1666675" y="661147"/>
                    </a:cubicBezTo>
                    <a:cubicBezTo>
                      <a:pt x="1672664" y="679581"/>
                      <a:pt x="1680006" y="700148"/>
                      <a:pt x="1682991" y="706852"/>
                    </a:cubicBezTo>
                    <a:cubicBezTo>
                      <a:pt x="1685975" y="713556"/>
                      <a:pt x="1690937" y="732753"/>
                      <a:pt x="1694018" y="749512"/>
                    </a:cubicBezTo>
                    <a:cubicBezTo>
                      <a:pt x="1697098" y="766271"/>
                      <a:pt x="1702637" y="793694"/>
                      <a:pt x="1706327" y="810453"/>
                    </a:cubicBezTo>
                    <a:cubicBezTo>
                      <a:pt x="1715186" y="850684"/>
                      <a:pt x="1715154" y="1105970"/>
                      <a:pt x="1706267" y="1145634"/>
                    </a:cubicBezTo>
                    <a:cubicBezTo>
                      <a:pt x="1702519" y="1162392"/>
                      <a:pt x="1697066" y="1188445"/>
                      <a:pt x="1694147" y="1203527"/>
                    </a:cubicBezTo>
                    <a:cubicBezTo>
                      <a:pt x="1688226" y="1234134"/>
                      <a:pt x="1675559" y="1276958"/>
                      <a:pt x="1664737" y="1302955"/>
                    </a:cubicBezTo>
                    <a:cubicBezTo>
                      <a:pt x="1660809" y="1312391"/>
                      <a:pt x="1657596" y="1322415"/>
                      <a:pt x="1657596" y="1325232"/>
                    </a:cubicBezTo>
                    <a:cubicBezTo>
                      <a:pt x="1657596" y="1328049"/>
                      <a:pt x="1652500" y="1340897"/>
                      <a:pt x="1646274" y="1353783"/>
                    </a:cubicBezTo>
                    <a:cubicBezTo>
                      <a:pt x="1602301" y="1444774"/>
                      <a:pt x="1592238" y="1464289"/>
                      <a:pt x="1579983" y="1482348"/>
                    </a:cubicBezTo>
                    <a:cubicBezTo>
                      <a:pt x="1572393" y="1493533"/>
                      <a:pt x="1566183" y="1505076"/>
                      <a:pt x="1566183" y="1508000"/>
                    </a:cubicBezTo>
                    <a:cubicBezTo>
                      <a:pt x="1566183" y="1510923"/>
                      <a:pt x="1564127" y="1514229"/>
                      <a:pt x="1561612" y="1515346"/>
                    </a:cubicBezTo>
                    <a:cubicBezTo>
                      <a:pt x="1559099" y="1516464"/>
                      <a:pt x="1547600" y="1531090"/>
                      <a:pt x="1536059" y="1547849"/>
                    </a:cubicBezTo>
                    <a:cubicBezTo>
                      <a:pt x="1524518" y="1564607"/>
                      <a:pt x="1508750" y="1584359"/>
                      <a:pt x="1501018" y="1591740"/>
                    </a:cubicBezTo>
                    <a:cubicBezTo>
                      <a:pt x="1493285" y="1599122"/>
                      <a:pt x="1486959" y="1607376"/>
                      <a:pt x="1486959" y="1610083"/>
                    </a:cubicBezTo>
                    <a:cubicBezTo>
                      <a:pt x="1486959" y="1616185"/>
                      <a:pt x="649930" y="2453396"/>
                      <a:pt x="645859" y="2451366"/>
                    </a:cubicBezTo>
                    <a:cubicBezTo>
                      <a:pt x="644240" y="2450559"/>
                      <a:pt x="500459" y="2449163"/>
                      <a:pt x="326344" y="2448264"/>
                    </a:cubicBezTo>
                    <a:lnTo>
                      <a:pt x="326363" y="2448263"/>
                    </a:lnTo>
                    <a:cubicBezTo>
                      <a:pt x="82450" y="2447004"/>
                      <a:pt x="8690" y="2444893"/>
                      <a:pt x="4989" y="2439067"/>
                    </a:cubicBezTo>
                    <a:cubicBezTo>
                      <a:pt x="2347" y="2434907"/>
                      <a:pt x="144" y="1958657"/>
                      <a:pt x="93" y="1380732"/>
                    </a:cubicBezTo>
                    <a:lnTo>
                      <a:pt x="0" y="329959"/>
                    </a:lnTo>
                    <a:lnTo>
                      <a:pt x="41136" y="289770"/>
                    </a:lnTo>
                    <a:cubicBezTo>
                      <a:pt x="101401" y="230892"/>
                      <a:pt x="170994" y="173612"/>
                      <a:pt x="182263" y="173612"/>
                    </a:cubicBezTo>
                    <a:cubicBezTo>
                      <a:pt x="185924" y="173612"/>
                      <a:pt x="188919" y="171461"/>
                      <a:pt x="188919" y="168832"/>
                    </a:cubicBezTo>
                    <a:cubicBezTo>
                      <a:pt x="188919" y="166203"/>
                      <a:pt x="197831" y="158867"/>
                      <a:pt x="208725" y="152532"/>
                    </a:cubicBezTo>
                    <a:cubicBezTo>
                      <a:pt x="219619" y="146196"/>
                      <a:pt x="229903" y="139314"/>
                      <a:pt x="231578" y="137239"/>
                    </a:cubicBezTo>
                    <a:cubicBezTo>
                      <a:pt x="233254" y="135164"/>
                      <a:pt x="267534" y="117666"/>
                      <a:pt x="307756" y="98355"/>
                    </a:cubicBezTo>
                    <a:cubicBezTo>
                      <a:pt x="347977" y="79043"/>
                      <a:pt x="385348" y="60840"/>
                      <a:pt x="390800" y="57903"/>
                    </a:cubicBezTo>
                    <a:cubicBezTo>
                      <a:pt x="396253" y="54966"/>
                      <a:pt x="411336" y="50646"/>
                      <a:pt x="424318" y="48304"/>
                    </a:cubicBezTo>
                    <a:cubicBezTo>
                      <a:pt x="437300" y="45962"/>
                      <a:pt x="450664" y="41903"/>
                      <a:pt x="454016" y="39286"/>
                    </a:cubicBezTo>
                    <a:cubicBezTo>
                      <a:pt x="457367" y="36667"/>
                      <a:pt x="473822" y="31808"/>
                      <a:pt x="490581" y="28486"/>
                    </a:cubicBezTo>
                    <a:cubicBezTo>
                      <a:pt x="507340" y="25165"/>
                      <a:pt x="537506" y="17656"/>
                      <a:pt x="557617" y="11800"/>
                    </a:cubicBezTo>
                    <a:cubicBezTo>
                      <a:pt x="584551" y="3958"/>
                      <a:pt x="661111" y="20"/>
                      <a:pt x="737602" y="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4E5758D2-B7E6-405D-8DBF-2914261D93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75340" y="761102"/>
                <a:ext cx="1950105" cy="1952131"/>
              </a:xfrm>
              <a:custGeom>
                <a:avLst/>
                <a:gdLst>
                  <a:gd name="connsiteX0" fmla="*/ 1939610 w 1950105"/>
                  <a:gd name="connsiteY0" fmla="*/ 0 h 1952131"/>
                  <a:gd name="connsiteX1" fmla="*/ 1950105 w 1950105"/>
                  <a:gd name="connsiteY1" fmla="*/ 972212 h 1952131"/>
                  <a:gd name="connsiteX2" fmla="*/ 1942487 w 1950105"/>
                  <a:gd name="connsiteY2" fmla="*/ 1947271 h 1952131"/>
                  <a:gd name="connsiteX3" fmla="*/ 2507 w 1950105"/>
                  <a:gd name="connsiteY3" fmla="*/ 1950644 h 1952131"/>
                  <a:gd name="connsiteX4" fmla="*/ 1 w 1950105"/>
                  <a:gd name="connsiteY4" fmla="*/ 1938455 h 1952131"/>
                  <a:gd name="connsiteX5" fmla="*/ 1939610 w 1950105"/>
                  <a:gd name="connsiteY5" fmla="*/ 0 h 1952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0105" h="1952131">
                    <a:moveTo>
                      <a:pt x="1939610" y="0"/>
                    </a:moveTo>
                    <a:cubicBezTo>
                      <a:pt x="1949496" y="0"/>
                      <a:pt x="1950105" y="56363"/>
                      <a:pt x="1950105" y="972212"/>
                    </a:cubicBezTo>
                    <a:cubicBezTo>
                      <a:pt x="1950105" y="1744401"/>
                      <a:pt x="1948538" y="1945010"/>
                      <a:pt x="1942487" y="1947271"/>
                    </a:cubicBezTo>
                    <a:cubicBezTo>
                      <a:pt x="1933037" y="1950804"/>
                      <a:pt x="6016" y="1954154"/>
                      <a:pt x="2507" y="1950644"/>
                    </a:cubicBezTo>
                    <a:cubicBezTo>
                      <a:pt x="1110" y="1949248"/>
                      <a:pt x="-18" y="1943763"/>
                      <a:pt x="1" y="1938455"/>
                    </a:cubicBezTo>
                    <a:cubicBezTo>
                      <a:pt x="62" y="1925249"/>
                      <a:pt x="1926440" y="0"/>
                      <a:pt x="1939610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A75370E3-7989-40C1-8F3B-DBA0161DA9B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7837089" y="1678276"/>
                <a:ext cx="2184431" cy="2152034"/>
              </a:xfrm>
              <a:custGeom>
                <a:avLst/>
                <a:gdLst>
                  <a:gd name="connsiteX0" fmla="*/ 2184431 w 2184431"/>
                  <a:gd name="connsiteY0" fmla="*/ 0 h 2152034"/>
                  <a:gd name="connsiteX1" fmla="*/ 2184431 w 2184431"/>
                  <a:gd name="connsiteY1" fmla="*/ 1075622 h 2152034"/>
                  <a:gd name="connsiteX2" fmla="*/ 2184431 w 2184431"/>
                  <a:gd name="connsiteY2" fmla="*/ 2151244 h 2152034"/>
                  <a:gd name="connsiteX3" fmla="*/ 1584154 w 2184431"/>
                  <a:gd name="connsiteY3" fmla="*/ 2151983 h 2152034"/>
                  <a:gd name="connsiteX4" fmla="*/ 950361 w 2184431"/>
                  <a:gd name="connsiteY4" fmla="*/ 2147153 h 2152034"/>
                  <a:gd name="connsiteX5" fmla="*/ 950362 w 2184431"/>
                  <a:gd name="connsiteY5" fmla="*/ 2147153 h 2152034"/>
                  <a:gd name="connsiteX6" fmla="*/ 801055 w 2184431"/>
                  <a:gd name="connsiteY6" fmla="*/ 2117829 h 2152034"/>
                  <a:gd name="connsiteX7" fmla="*/ 768794 w 2184431"/>
                  <a:gd name="connsiteY7" fmla="*/ 2109303 h 2152034"/>
                  <a:gd name="connsiteX8" fmla="*/ 732229 w 2184431"/>
                  <a:gd name="connsiteY8" fmla="*/ 2099949 h 2152034"/>
                  <a:gd name="connsiteX9" fmla="*/ 676123 w 2184431"/>
                  <a:gd name="connsiteY9" fmla="*/ 2077771 h 2152034"/>
                  <a:gd name="connsiteX10" fmla="*/ 476956 w 2184431"/>
                  <a:gd name="connsiteY10" fmla="*/ 1972835 h 2152034"/>
                  <a:gd name="connsiteX11" fmla="*/ 411998 w 2184431"/>
                  <a:gd name="connsiteY11" fmla="*/ 1930683 h 2152034"/>
                  <a:gd name="connsiteX12" fmla="*/ 208178 w 2184431"/>
                  <a:gd name="connsiteY12" fmla="*/ 1724647 h 2152034"/>
                  <a:gd name="connsiteX13" fmla="*/ 187067 w 2184431"/>
                  <a:gd name="connsiteY13" fmla="*/ 1696106 h 2152034"/>
                  <a:gd name="connsiteX14" fmla="*/ 170308 w 2184431"/>
                  <a:gd name="connsiteY14" fmla="*/ 1670824 h 2152034"/>
                  <a:gd name="connsiteX15" fmla="*/ 150443 w 2184431"/>
                  <a:gd name="connsiteY15" fmla="*/ 1638423 h 2152034"/>
                  <a:gd name="connsiteX16" fmla="*/ 64464 w 2184431"/>
                  <a:gd name="connsiteY16" fmla="*/ 1470822 h 2152034"/>
                  <a:gd name="connsiteX17" fmla="*/ 54518 w 2184431"/>
                  <a:gd name="connsiteY17" fmla="*/ 1432735 h 2152034"/>
                  <a:gd name="connsiteX18" fmla="*/ 48700 w 2184431"/>
                  <a:gd name="connsiteY18" fmla="*/ 1416896 h 2152034"/>
                  <a:gd name="connsiteX19" fmla="*/ 38926 w 2184431"/>
                  <a:gd name="connsiteY19" fmla="*/ 1394044 h 2152034"/>
                  <a:gd name="connsiteX20" fmla="*/ 25602 w 2184431"/>
                  <a:gd name="connsiteY20" fmla="*/ 1343766 h 2152034"/>
                  <a:gd name="connsiteX21" fmla="*/ 26121 w 2184431"/>
                  <a:gd name="connsiteY21" fmla="*/ 807478 h 2152034"/>
                  <a:gd name="connsiteX22" fmla="*/ 36183 w 2184431"/>
                  <a:gd name="connsiteY22" fmla="*/ 767867 h 2152034"/>
                  <a:gd name="connsiteX23" fmla="*/ 45413 w 2184431"/>
                  <a:gd name="connsiteY23" fmla="*/ 738222 h 2152034"/>
                  <a:gd name="connsiteX24" fmla="*/ 54517 w 2184431"/>
                  <a:gd name="connsiteY24" fmla="*/ 711720 h 2152034"/>
                  <a:gd name="connsiteX25" fmla="*/ 142783 w 2184431"/>
                  <a:gd name="connsiteY25" fmla="*/ 524522 h 2152034"/>
                  <a:gd name="connsiteX26" fmla="*/ 160705 w 2184431"/>
                  <a:gd name="connsiteY26" fmla="*/ 496564 h 2152034"/>
                  <a:gd name="connsiteX27" fmla="*/ 175998 w 2184431"/>
                  <a:gd name="connsiteY27" fmla="*/ 472299 h 2152034"/>
                  <a:gd name="connsiteX28" fmla="*/ 196073 w 2184431"/>
                  <a:gd name="connsiteY28" fmla="*/ 443768 h 2152034"/>
                  <a:gd name="connsiteX29" fmla="*/ 283274 w 2184431"/>
                  <a:gd name="connsiteY29" fmla="*/ 337688 h 2152034"/>
                  <a:gd name="connsiteX30" fmla="*/ 435671 w 2184431"/>
                  <a:gd name="connsiteY30" fmla="*/ 204469 h 2152034"/>
                  <a:gd name="connsiteX31" fmla="*/ 468921 w 2184431"/>
                  <a:gd name="connsiteY31" fmla="*/ 179786 h 2152034"/>
                  <a:gd name="connsiteX32" fmla="*/ 541634 w 2184431"/>
                  <a:gd name="connsiteY32" fmla="*/ 137120 h 2152034"/>
                  <a:gd name="connsiteX33" fmla="*/ 549160 w 2184431"/>
                  <a:gd name="connsiteY33" fmla="*/ 132549 h 2152034"/>
                  <a:gd name="connsiteX34" fmla="*/ 683654 w 2184431"/>
                  <a:gd name="connsiteY34" fmla="*/ 70083 h 2152034"/>
                  <a:gd name="connsiteX35" fmla="*/ 697757 w 2184431"/>
                  <a:gd name="connsiteY35" fmla="*/ 64559 h 2152034"/>
                  <a:gd name="connsiteX36" fmla="*/ 831524 w 2184431"/>
                  <a:gd name="connsiteY36" fmla="*/ 23453 h 2152034"/>
                  <a:gd name="connsiteX37" fmla="*/ 1581108 w 2184431"/>
                  <a:gd name="connsiteY37" fmla="*/ 111 h 2152034"/>
                  <a:gd name="connsiteX38" fmla="*/ 2184431 w 2184431"/>
                  <a:gd name="connsiteY38" fmla="*/ 0 h 2152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184431" h="2152034">
                    <a:moveTo>
                      <a:pt x="2184431" y="0"/>
                    </a:moveTo>
                    <a:lnTo>
                      <a:pt x="2184431" y="1075622"/>
                    </a:lnTo>
                    <a:lnTo>
                      <a:pt x="2184431" y="2151244"/>
                    </a:lnTo>
                    <a:lnTo>
                      <a:pt x="1584154" y="2151983"/>
                    </a:lnTo>
                    <a:cubicBezTo>
                      <a:pt x="1246349" y="2152397"/>
                      <a:pt x="969223" y="2150285"/>
                      <a:pt x="950361" y="2147153"/>
                    </a:cubicBezTo>
                    <a:lnTo>
                      <a:pt x="950362" y="2147153"/>
                    </a:lnTo>
                    <a:cubicBezTo>
                      <a:pt x="851495" y="2130729"/>
                      <a:pt x="806521" y="2121896"/>
                      <a:pt x="801055" y="2117829"/>
                    </a:cubicBezTo>
                    <a:cubicBezTo>
                      <a:pt x="797702" y="2115336"/>
                      <a:pt x="783185" y="2111499"/>
                      <a:pt x="768794" y="2109303"/>
                    </a:cubicBezTo>
                    <a:cubicBezTo>
                      <a:pt x="754402" y="2107105"/>
                      <a:pt x="737948" y="2102897"/>
                      <a:pt x="732229" y="2099949"/>
                    </a:cubicBezTo>
                    <a:cubicBezTo>
                      <a:pt x="726509" y="2097001"/>
                      <a:pt x="701263" y="2087021"/>
                      <a:pt x="676123" y="2077771"/>
                    </a:cubicBezTo>
                    <a:cubicBezTo>
                      <a:pt x="616551" y="2055853"/>
                      <a:pt x="541531" y="2016326"/>
                      <a:pt x="476956" y="1972835"/>
                    </a:cubicBezTo>
                    <a:cubicBezTo>
                      <a:pt x="448467" y="1953647"/>
                      <a:pt x="419236" y="1934679"/>
                      <a:pt x="411998" y="1930683"/>
                    </a:cubicBezTo>
                    <a:cubicBezTo>
                      <a:pt x="384677" y="1915601"/>
                      <a:pt x="240285" y="1769639"/>
                      <a:pt x="208178" y="1724647"/>
                    </a:cubicBezTo>
                    <a:cubicBezTo>
                      <a:pt x="205784" y="1721292"/>
                      <a:pt x="196284" y="1708449"/>
                      <a:pt x="187067" y="1696106"/>
                    </a:cubicBezTo>
                    <a:cubicBezTo>
                      <a:pt x="177848" y="1683763"/>
                      <a:pt x="170308" y="1672386"/>
                      <a:pt x="170308" y="1670824"/>
                    </a:cubicBezTo>
                    <a:cubicBezTo>
                      <a:pt x="170308" y="1669260"/>
                      <a:pt x="161368" y="1654680"/>
                      <a:pt x="150443" y="1638423"/>
                    </a:cubicBezTo>
                    <a:cubicBezTo>
                      <a:pt x="132813" y="1612189"/>
                      <a:pt x="92699" y="1533993"/>
                      <a:pt x="64464" y="1470822"/>
                    </a:cubicBezTo>
                    <a:cubicBezTo>
                      <a:pt x="58993" y="1458585"/>
                      <a:pt x="54518" y="1441445"/>
                      <a:pt x="54518" y="1432735"/>
                    </a:cubicBezTo>
                    <a:cubicBezTo>
                      <a:pt x="54518" y="1424024"/>
                      <a:pt x="51900" y="1416896"/>
                      <a:pt x="48700" y="1416896"/>
                    </a:cubicBezTo>
                    <a:cubicBezTo>
                      <a:pt x="45500" y="1416896"/>
                      <a:pt x="41101" y="1406613"/>
                      <a:pt x="38926" y="1394044"/>
                    </a:cubicBezTo>
                    <a:cubicBezTo>
                      <a:pt x="36750" y="1381474"/>
                      <a:pt x="30754" y="1358849"/>
                      <a:pt x="25602" y="1343766"/>
                    </a:cubicBezTo>
                    <a:cubicBezTo>
                      <a:pt x="-8785" y="1243105"/>
                      <a:pt x="-8454" y="902906"/>
                      <a:pt x="26121" y="807478"/>
                    </a:cubicBezTo>
                    <a:cubicBezTo>
                      <a:pt x="31585" y="792396"/>
                      <a:pt x="36113" y="774570"/>
                      <a:pt x="36183" y="767867"/>
                    </a:cubicBezTo>
                    <a:cubicBezTo>
                      <a:pt x="36249" y="761163"/>
                      <a:pt x="40406" y="747824"/>
                      <a:pt x="45413" y="738222"/>
                    </a:cubicBezTo>
                    <a:cubicBezTo>
                      <a:pt x="50419" y="728622"/>
                      <a:pt x="54517" y="716696"/>
                      <a:pt x="54517" y="711720"/>
                    </a:cubicBezTo>
                    <a:cubicBezTo>
                      <a:pt x="54517" y="696968"/>
                      <a:pt x="128496" y="540071"/>
                      <a:pt x="142783" y="524522"/>
                    </a:cubicBezTo>
                    <a:cubicBezTo>
                      <a:pt x="146189" y="520815"/>
                      <a:pt x="154254" y="508234"/>
                      <a:pt x="160705" y="496564"/>
                    </a:cubicBezTo>
                    <a:cubicBezTo>
                      <a:pt x="167157" y="484894"/>
                      <a:pt x="174038" y="473976"/>
                      <a:pt x="175998" y="472299"/>
                    </a:cubicBezTo>
                    <a:cubicBezTo>
                      <a:pt x="177958" y="470623"/>
                      <a:pt x="186992" y="457784"/>
                      <a:pt x="196073" y="443768"/>
                    </a:cubicBezTo>
                    <a:cubicBezTo>
                      <a:pt x="211105" y="420571"/>
                      <a:pt x="230605" y="396850"/>
                      <a:pt x="283274" y="337688"/>
                    </a:cubicBezTo>
                    <a:cubicBezTo>
                      <a:pt x="320359" y="296033"/>
                      <a:pt x="383861" y="240522"/>
                      <a:pt x="435671" y="204469"/>
                    </a:cubicBezTo>
                    <a:cubicBezTo>
                      <a:pt x="452282" y="192910"/>
                      <a:pt x="467244" y="181803"/>
                      <a:pt x="468921" y="179786"/>
                    </a:cubicBezTo>
                    <a:cubicBezTo>
                      <a:pt x="474325" y="173284"/>
                      <a:pt x="535956" y="137120"/>
                      <a:pt x="541634" y="137120"/>
                    </a:cubicBezTo>
                    <a:cubicBezTo>
                      <a:pt x="544656" y="137120"/>
                      <a:pt x="548042" y="135063"/>
                      <a:pt x="549160" y="132549"/>
                    </a:cubicBezTo>
                    <a:cubicBezTo>
                      <a:pt x="552633" y="124734"/>
                      <a:pt x="670303" y="70083"/>
                      <a:pt x="683654" y="70083"/>
                    </a:cubicBezTo>
                    <a:cubicBezTo>
                      <a:pt x="688226" y="70083"/>
                      <a:pt x="694573" y="67598"/>
                      <a:pt x="697757" y="64559"/>
                    </a:cubicBezTo>
                    <a:cubicBezTo>
                      <a:pt x="705815" y="56871"/>
                      <a:pt x="780380" y="33958"/>
                      <a:pt x="831524" y="23453"/>
                    </a:cubicBezTo>
                    <a:cubicBezTo>
                      <a:pt x="940225" y="1129"/>
                      <a:pt x="969242" y="224"/>
                      <a:pt x="1581108" y="111"/>
                    </a:cubicBezTo>
                    <a:lnTo>
                      <a:pt x="2184431" y="0"/>
                    </a:ln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E287E65B-1673-417F-8C88-6616FF5925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869688"/>
                <a:ext cx="1674822" cy="2401637"/>
              </a:xfrm>
              <a:custGeom>
                <a:avLst/>
                <a:gdLst>
                  <a:gd name="connsiteX0" fmla="*/ 334458 w 1674822"/>
                  <a:gd name="connsiteY0" fmla="*/ 0 h 2401637"/>
                  <a:gd name="connsiteX1" fmla="*/ 661517 w 1674822"/>
                  <a:gd name="connsiteY1" fmla="*/ 0 h 2401637"/>
                  <a:gd name="connsiteX2" fmla="*/ 1060842 w 1674822"/>
                  <a:gd name="connsiteY2" fmla="*/ 400693 h 2401637"/>
                  <a:gd name="connsiteX3" fmla="*/ 1497894 w 1674822"/>
                  <a:gd name="connsiteY3" fmla="*/ 856232 h 2401637"/>
                  <a:gd name="connsiteX4" fmla="*/ 1540442 w 1674822"/>
                  <a:gd name="connsiteY4" fmla="*/ 917174 h 2401637"/>
                  <a:gd name="connsiteX5" fmla="*/ 1608900 w 1674822"/>
                  <a:gd name="connsiteY5" fmla="*/ 1056276 h 2401637"/>
                  <a:gd name="connsiteX6" fmla="*/ 1616809 w 1674822"/>
                  <a:gd name="connsiteY6" fmla="*/ 1078669 h 2401637"/>
                  <a:gd name="connsiteX7" fmla="*/ 1667002 w 1674822"/>
                  <a:gd name="connsiteY7" fmla="*/ 1267588 h 2401637"/>
                  <a:gd name="connsiteX8" fmla="*/ 1661895 w 1674822"/>
                  <a:gd name="connsiteY8" fmla="*/ 1599721 h 2401637"/>
                  <a:gd name="connsiteX9" fmla="*/ 1621485 w 1674822"/>
                  <a:gd name="connsiteY9" fmla="*/ 1745847 h 2401637"/>
                  <a:gd name="connsiteX10" fmla="*/ 1612593 w 1674822"/>
                  <a:gd name="connsiteY10" fmla="*/ 1768994 h 2401637"/>
                  <a:gd name="connsiteX11" fmla="*/ 1519716 w 1674822"/>
                  <a:gd name="connsiteY11" fmla="*/ 1950616 h 2401637"/>
                  <a:gd name="connsiteX12" fmla="*/ 1511356 w 1674822"/>
                  <a:gd name="connsiteY12" fmla="*/ 1966029 h 2401637"/>
                  <a:gd name="connsiteX13" fmla="*/ 1499167 w 1674822"/>
                  <a:gd name="connsiteY13" fmla="*/ 1980607 h 2401637"/>
                  <a:gd name="connsiteX14" fmla="*/ 1486979 w 1674822"/>
                  <a:gd name="connsiteY14" fmla="*/ 1996172 h 2401637"/>
                  <a:gd name="connsiteX15" fmla="*/ 1468866 w 1674822"/>
                  <a:gd name="connsiteY15" fmla="*/ 2020727 h 2401637"/>
                  <a:gd name="connsiteX16" fmla="*/ 1450584 w 1674822"/>
                  <a:gd name="connsiteY16" fmla="*/ 2043594 h 2401637"/>
                  <a:gd name="connsiteX17" fmla="*/ 1261346 w 1674822"/>
                  <a:gd name="connsiteY17" fmla="*/ 2218281 h 2401637"/>
                  <a:gd name="connsiteX18" fmla="*/ 1231652 w 1674822"/>
                  <a:gd name="connsiteY18" fmla="*/ 2239609 h 2401637"/>
                  <a:gd name="connsiteX19" fmla="*/ 1203551 w 1674822"/>
                  <a:gd name="connsiteY19" fmla="*/ 2259149 h 2401637"/>
                  <a:gd name="connsiteX20" fmla="*/ 1048199 w 1674822"/>
                  <a:gd name="connsiteY20" fmla="*/ 2335604 h 2401637"/>
                  <a:gd name="connsiteX21" fmla="*/ 1022164 w 1674822"/>
                  <a:gd name="connsiteY21" fmla="*/ 2347104 h 2401637"/>
                  <a:gd name="connsiteX22" fmla="*/ 984076 w 1674822"/>
                  <a:gd name="connsiteY22" fmla="*/ 2356362 h 2401637"/>
                  <a:gd name="connsiteX23" fmla="*/ 956786 w 1674822"/>
                  <a:gd name="connsiteY23" fmla="*/ 2364468 h 2401637"/>
                  <a:gd name="connsiteX24" fmla="*/ 918697 w 1674822"/>
                  <a:gd name="connsiteY24" fmla="*/ 2375702 h 2401637"/>
                  <a:gd name="connsiteX25" fmla="*/ 831855 w 1674822"/>
                  <a:gd name="connsiteY25" fmla="*/ 2391717 h 2401637"/>
                  <a:gd name="connsiteX26" fmla="*/ 584314 w 1674822"/>
                  <a:gd name="connsiteY26" fmla="*/ 2398347 h 2401637"/>
                  <a:gd name="connsiteX27" fmla="*/ 548257 w 1674822"/>
                  <a:gd name="connsiteY27" fmla="*/ 2389771 h 2401637"/>
                  <a:gd name="connsiteX28" fmla="*/ 429639 w 1674822"/>
                  <a:gd name="connsiteY28" fmla="*/ 2364568 h 2401637"/>
                  <a:gd name="connsiteX29" fmla="*/ 399169 w 1674822"/>
                  <a:gd name="connsiteY29" fmla="*/ 2355648 h 2401637"/>
                  <a:gd name="connsiteX30" fmla="*/ 368697 w 1674822"/>
                  <a:gd name="connsiteY30" fmla="*/ 2346569 h 2401637"/>
                  <a:gd name="connsiteX31" fmla="*/ 332132 w 1674822"/>
                  <a:gd name="connsiteY31" fmla="*/ 2330684 h 2401637"/>
                  <a:gd name="connsiteX32" fmla="*/ 115851 w 1674822"/>
                  <a:gd name="connsiteY32" fmla="*/ 2207777 h 2401637"/>
                  <a:gd name="connsiteX33" fmla="*/ 96231 w 1674822"/>
                  <a:gd name="connsiteY33" fmla="*/ 2193904 h 2401637"/>
                  <a:gd name="connsiteX34" fmla="*/ 11074 w 1674822"/>
                  <a:gd name="connsiteY34" fmla="*/ 2119250 h 2401637"/>
                  <a:gd name="connsiteX35" fmla="*/ 0 w 1674822"/>
                  <a:gd name="connsiteY35" fmla="*/ 1063932 h 2401637"/>
                  <a:gd name="connsiteX36" fmla="*/ 3699 w 1674822"/>
                  <a:gd name="connsiteY36" fmla="*/ 9640 h 2401637"/>
                  <a:gd name="connsiteX37" fmla="*/ 334458 w 1674822"/>
                  <a:gd name="connsiteY37" fmla="*/ 0 h 240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674822" h="2401637">
                    <a:moveTo>
                      <a:pt x="334458" y="0"/>
                    </a:moveTo>
                    <a:lnTo>
                      <a:pt x="661517" y="0"/>
                    </a:lnTo>
                    <a:lnTo>
                      <a:pt x="1060842" y="400693"/>
                    </a:lnTo>
                    <a:cubicBezTo>
                      <a:pt x="1379844" y="720785"/>
                      <a:pt x="1467756" y="812417"/>
                      <a:pt x="1497894" y="856232"/>
                    </a:cubicBezTo>
                    <a:cubicBezTo>
                      <a:pt x="1518645" y="886398"/>
                      <a:pt x="1537791" y="913822"/>
                      <a:pt x="1540442" y="917174"/>
                    </a:cubicBezTo>
                    <a:cubicBezTo>
                      <a:pt x="1549627" y="928788"/>
                      <a:pt x="1608862" y="1049150"/>
                      <a:pt x="1608900" y="1056276"/>
                    </a:cubicBezTo>
                    <a:cubicBezTo>
                      <a:pt x="1608900" y="1060212"/>
                      <a:pt x="1612479" y="1070290"/>
                      <a:pt x="1616809" y="1078669"/>
                    </a:cubicBezTo>
                    <a:cubicBezTo>
                      <a:pt x="1629117" y="1102494"/>
                      <a:pt x="1656040" y="1203824"/>
                      <a:pt x="1667002" y="1267588"/>
                    </a:cubicBezTo>
                    <a:cubicBezTo>
                      <a:pt x="1679415" y="1339780"/>
                      <a:pt x="1676564" y="1525140"/>
                      <a:pt x="1661895" y="1599721"/>
                    </a:cubicBezTo>
                    <a:cubicBezTo>
                      <a:pt x="1650756" y="1656366"/>
                      <a:pt x="1628504" y="1736827"/>
                      <a:pt x="1621485" y="1745847"/>
                    </a:cubicBezTo>
                    <a:cubicBezTo>
                      <a:pt x="1618818" y="1749272"/>
                      <a:pt x="1614818" y="1759689"/>
                      <a:pt x="1612593" y="1768994"/>
                    </a:cubicBezTo>
                    <a:cubicBezTo>
                      <a:pt x="1605780" y="1797501"/>
                      <a:pt x="1538586" y="1928900"/>
                      <a:pt x="1519716" y="1950616"/>
                    </a:cubicBezTo>
                    <a:cubicBezTo>
                      <a:pt x="1515118" y="1955908"/>
                      <a:pt x="1511356" y="1962844"/>
                      <a:pt x="1511356" y="1966029"/>
                    </a:cubicBezTo>
                    <a:cubicBezTo>
                      <a:pt x="1511356" y="1969216"/>
                      <a:pt x="1505871" y="1975776"/>
                      <a:pt x="1499167" y="1980607"/>
                    </a:cubicBezTo>
                    <a:cubicBezTo>
                      <a:pt x="1492464" y="1985439"/>
                      <a:pt x="1486979" y="1992443"/>
                      <a:pt x="1486979" y="1996172"/>
                    </a:cubicBezTo>
                    <a:cubicBezTo>
                      <a:pt x="1486979" y="1999902"/>
                      <a:pt x="1478828" y="2010951"/>
                      <a:pt x="1468866" y="2020727"/>
                    </a:cubicBezTo>
                    <a:cubicBezTo>
                      <a:pt x="1458903" y="2030503"/>
                      <a:pt x="1450676" y="2040793"/>
                      <a:pt x="1450584" y="2043594"/>
                    </a:cubicBezTo>
                    <a:cubicBezTo>
                      <a:pt x="1450149" y="2056666"/>
                      <a:pt x="1310538" y="2185541"/>
                      <a:pt x="1261346" y="2218281"/>
                    </a:cubicBezTo>
                    <a:cubicBezTo>
                      <a:pt x="1253791" y="2223308"/>
                      <a:pt x="1240429" y="2232906"/>
                      <a:pt x="1231652" y="2239609"/>
                    </a:cubicBezTo>
                    <a:cubicBezTo>
                      <a:pt x="1222873" y="2246313"/>
                      <a:pt x="1210228" y="2255106"/>
                      <a:pt x="1203551" y="2259149"/>
                    </a:cubicBezTo>
                    <a:cubicBezTo>
                      <a:pt x="1186982" y="2269182"/>
                      <a:pt x="1067068" y="2328195"/>
                      <a:pt x="1048199" y="2335604"/>
                    </a:cubicBezTo>
                    <a:cubicBezTo>
                      <a:pt x="1039818" y="2338894"/>
                      <a:pt x="1028104" y="2344069"/>
                      <a:pt x="1022164" y="2347104"/>
                    </a:cubicBezTo>
                    <a:cubicBezTo>
                      <a:pt x="1016225" y="2350138"/>
                      <a:pt x="999086" y="2354304"/>
                      <a:pt x="984076" y="2356362"/>
                    </a:cubicBezTo>
                    <a:cubicBezTo>
                      <a:pt x="969066" y="2358420"/>
                      <a:pt x="956786" y="2362067"/>
                      <a:pt x="956786" y="2364468"/>
                    </a:cubicBezTo>
                    <a:cubicBezTo>
                      <a:pt x="956786" y="2366869"/>
                      <a:pt x="939646" y="2371923"/>
                      <a:pt x="918697" y="2375702"/>
                    </a:cubicBezTo>
                    <a:cubicBezTo>
                      <a:pt x="897749" y="2379479"/>
                      <a:pt x="858669" y="2386686"/>
                      <a:pt x="831855" y="2391717"/>
                    </a:cubicBezTo>
                    <a:cubicBezTo>
                      <a:pt x="786871" y="2400158"/>
                      <a:pt x="591361" y="2405394"/>
                      <a:pt x="584314" y="2398347"/>
                    </a:cubicBezTo>
                    <a:cubicBezTo>
                      <a:pt x="582797" y="2396830"/>
                      <a:pt x="566571" y="2392971"/>
                      <a:pt x="548257" y="2389771"/>
                    </a:cubicBezTo>
                    <a:cubicBezTo>
                      <a:pt x="468129" y="2375769"/>
                      <a:pt x="435331" y="2368800"/>
                      <a:pt x="429639" y="2364568"/>
                    </a:cubicBezTo>
                    <a:cubicBezTo>
                      <a:pt x="426287" y="2362074"/>
                      <a:pt x="412576" y="2358061"/>
                      <a:pt x="399169" y="2355648"/>
                    </a:cubicBezTo>
                    <a:cubicBezTo>
                      <a:pt x="385761" y="2353236"/>
                      <a:pt x="372049" y="2349150"/>
                      <a:pt x="368697" y="2346569"/>
                    </a:cubicBezTo>
                    <a:cubicBezTo>
                      <a:pt x="365345" y="2343987"/>
                      <a:pt x="348892" y="2336840"/>
                      <a:pt x="332132" y="2330684"/>
                    </a:cubicBezTo>
                    <a:cubicBezTo>
                      <a:pt x="273392" y="2309108"/>
                      <a:pt x="149959" y="2238964"/>
                      <a:pt x="115851" y="2207777"/>
                    </a:cubicBezTo>
                    <a:cubicBezTo>
                      <a:pt x="107506" y="2200146"/>
                      <a:pt x="98676" y="2193904"/>
                      <a:pt x="96231" y="2193904"/>
                    </a:cubicBezTo>
                    <a:cubicBezTo>
                      <a:pt x="92440" y="2193904"/>
                      <a:pt x="49554" y="2156307"/>
                      <a:pt x="11074" y="2119250"/>
                    </a:cubicBezTo>
                    <a:cubicBezTo>
                      <a:pt x="455" y="2109024"/>
                      <a:pt x="0" y="2065581"/>
                      <a:pt x="0" y="1063932"/>
                    </a:cubicBezTo>
                    <a:cubicBezTo>
                      <a:pt x="0" y="489373"/>
                      <a:pt x="1664" y="14942"/>
                      <a:pt x="3699" y="9640"/>
                    </a:cubicBezTo>
                    <a:cubicBezTo>
                      <a:pt x="7009" y="1016"/>
                      <a:pt x="41844" y="0"/>
                      <a:pt x="334458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2BFBB5D-A006-4A12-A25A-F73964CA6F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69277" y="2870729"/>
                <a:ext cx="1942794" cy="1949095"/>
              </a:xfrm>
              <a:custGeom>
                <a:avLst/>
                <a:gdLst>
                  <a:gd name="connsiteX0" fmla="*/ 479067 w 1942794"/>
                  <a:gd name="connsiteY0" fmla="*/ 4 h 1949095"/>
                  <a:gd name="connsiteX1" fmla="*/ 970497 w 1942794"/>
                  <a:gd name="connsiteY1" fmla="*/ 464 h 1949095"/>
                  <a:gd name="connsiteX2" fmla="*/ 1940995 w 1942794"/>
                  <a:gd name="connsiteY2" fmla="*/ 2005 h 1949095"/>
                  <a:gd name="connsiteX3" fmla="*/ 1942538 w 1942794"/>
                  <a:gd name="connsiteY3" fmla="*/ 975550 h 1949095"/>
                  <a:gd name="connsiteX4" fmla="*/ 1938535 w 1942794"/>
                  <a:gd name="connsiteY4" fmla="*/ 1949095 h 1949095"/>
                  <a:gd name="connsiteX5" fmla="*/ 966494 w 1942794"/>
                  <a:gd name="connsiteY5" fmla="*/ 982133 h 1949095"/>
                  <a:gd name="connsiteX6" fmla="*/ 0 w 1942794"/>
                  <a:gd name="connsiteY6" fmla="*/ 7046 h 1949095"/>
                  <a:gd name="connsiteX7" fmla="*/ 479067 w 1942794"/>
                  <a:gd name="connsiteY7" fmla="*/ 4 h 1949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42794" h="1949095">
                    <a:moveTo>
                      <a:pt x="479067" y="4"/>
                    </a:moveTo>
                    <a:cubicBezTo>
                      <a:pt x="607806" y="-26"/>
                      <a:pt x="769140" y="144"/>
                      <a:pt x="970497" y="464"/>
                    </a:cubicBezTo>
                    <a:lnTo>
                      <a:pt x="1940995" y="2005"/>
                    </a:lnTo>
                    <a:lnTo>
                      <a:pt x="1942538" y="975550"/>
                    </a:lnTo>
                    <a:cubicBezTo>
                      <a:pt x="1943459" y="1557344"/>
                      <a:pt x="1941848" y="1949095"/>
                      <a:pt x="1938535" y="1949095"/>
                    </a:cubicBezTo>
                    <a:cubicBezTo>
                      <a:pt x="1935485" y="1949095"/>
                      <a:pt x="1498067" y="1513962"/>
                      <a:pt x="966494" y="982133"/>
                    </a:cubicBezTo>
                    <a:cubicBezTo>
                      <a:pt x="434923" y="450303"/>
                      <a:pt x="0" y="11515"/>
                      <a:pt x="0" y="7046"/>
                    </a:cubicBezTo>
                    <a:cubicBezTo>
                      <a:pt x="0" y="1989"/>
                      <a:pt x="92852" y="95"/>
                      <a:pt x="479067" y="4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43032152-601F-4CB0-97F2-7F0645EF2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3678" y="2931370"/>
                <a:ext cx="2150576" cy="3240021"/>
              </a:xfrm>
              <a:custGeom>
                <a:avLst/>
                <a:gdLst>
                  <a:gd name="connsiteX0" fmla="*/ 6377 w 2150576"/>
                  <a:gd name="connsiteY0" fmla="*/ 133 h 3240021"/>
                  <a:gd name="connsiteX1" fmla="*/ 636700 w 2150576"/>
                  <a:gd name="connsiteY1" fmla="*/ 616296 h 3240021"/>
                  <a:gd name="connsiteX2" fmla="*/ 1051104 w 2150576"/>
                  <a:gd name="connsiteY2" fmla="*/ 1026317 h 3240021"/>
                  <a:gd name="connsiteX3" fmla="*/ 1614815 w 2150576"/>
                  <a:gd name="connsiteY3" fmla="*/ 1584287 h 3240021"/>
                  <a:gd name="connsiteX4" fmla="*/ 2141034 w 2150576"/>
                  <a:gd name="connsiteY4" fmla="*/ 2103385 h 3240021"/>
                  <a:gd name="connsiteX5" fmla="*/ 2149004 w 2150576"/>
                  <a:gd name="connsiteY5" fmla="*/ 2199611 h 3240021"/>
                  <a:gd name="connsiteX6" fmla="*/ 2136926 w 2150576"/>
                  <a:gd name="connsiteY6" fmla="*/ 2345517 h 3240021"/>
                  <a:gd name="connsiteX7" fmla="*/ 2095515 w 2150576"/>
                  <a:gd name="connsiteY7" fmla="*/ 2509044 h 3240021"/>
                  <a:gd name="connsiteX8" fmla="*/ 2090161 w 2150576"/>
                  <a:gd name="connsiteY8" fmla="*/ 2522530 h 3240021"/>
                  <a:gd name="connsiteX9" fmla="*/ 2004521 w 2150576"/>
                  <a:gd name="connsiteY9" fmla="*/ 2714215 h 3240021"/>
                  <a:gd name="connsiteX10" fmla="*/ 1988731 w 2150576"/>
                  <a:gd name="connsiteY10" fmla="*/ 2741638 h 3240021"/>
                  <a:gd name="connsiteX11" fmla="*/ 1964287 w 2150576"/>
                  <a:gd name="connsiteY11" fmla="*/ 2776182 h 3240021"/>
                  <a:gd name="connsiteX12" fmla="*/ 1943900 w 2150576"/>
                  <a:gd name="connsiteY12" fmla="*/ 2806025 h 3240021"/>
                  <a:gd name="connsiteX13" fmla="*/ 1664400 w 2150576"/>
                  <a:gd name="connsiteY13" fmla="*/ 3070724 h 3240021"/>
                  <a:gd name="connsiteX14" fmla="*/ 1656458 w 2150576"/>
                  <a:gd name="connsiteY14" fmla="*/ 3075535 h 3240021"/>
                  <a:gd name="connsiteX15" fmla="*/ 1541684 w 2150576"/>
                  <a:gd name="connsiteY15" fmla="*/ 3141878 h 3240021"/>
                  <a:gd name="connsiteX16" fmla="*/ 1435556 w 2150576"/>
                  <a:gd name="connsiteY16" fmla="*/ 3186512 h 3240021"/>
                  <a:gd name="connsiteX17" fmla="*/ 1415148 w 2150576"/>
                  <a:gd name="connsiteY17" fmla="*/ 3192582 h 3240021"/>
                  <a:gd name="connsiteX18" fmla="*/ 1252211 w 2150576"/>
                  <a:gd name="connsiteY18" fmla="*/ 3232582 h 3240021"/>
                  <a:gd name="connsiteX19" fmla="*/ 889608 w 2150576"/>
                  <a:gd name="connsiteY19" fmla="*/ 3232520 h 3240021"/>
                  <a:gd name="connsiteX20" fmla="*/ 889608 w 2150576"/>
                  <a:gd name="connsiteY20" fmla="*/ 3232549 h 3240021"/>
                  <a:gd name="connsiteX21" fmla="*/ 828666 w 2150576"/>
                  <a:gd name="connsiteY21" fmla="*/ 3221890 h 3240021"/>
                  <a:gd name="connsiteX22" fmla="*/ 776866 w 2150576"/>
                  <a:gd name="connsiteY22" fmla="*/ 3207676 h 3240021"/>
                  <a:gd name="connsiteX23" fmla="*/ 728417 w 2150576"/>
                  <a:gd name="connsiteY23" fmla="*/ 3191792 h 3240021"/>
                  <a:gd name="connsiteX24" fmla="*/ 714102 w 2150576"/>
                  <a:gd name="connsiteY24" fmla="*/ 3186512 h 3240021"/>
                  <a:gd name="connsiteX25" fmla="*/ 686374 w 2150576"/>
                  <a:gd name="connsiteY25" fmla="*/ 3178094 h 3240021"/>
                  <a:gd name="connsiteX26" fmla="*/ 642793 w 2150576"/>
                  <a:gd name="connsiteY26" fmla="*/ 3159335 h 3240021"/>
                  <a:gd name="connsiteX27" fmla="*/ 517868 w 2150576"/>
                  <a:gd name="connsiteY27" fmla="*/ 3095101 h 3240021"/>
                  <a:gd name="connsiteX28" fmla="*/ 498656 w 2150576"/>
                  <a:gd name="connsiteY28" fmla="*/ 3082912 h 3240021"/>
                  <a:gd name="connsiteX29" fmla="*/ 420356 w 2150576"/>
                  <a:gd name="connsiteY29" fmla="*/ 3026639 h 3240021"/>
                  <a:gd name="connsiteX30" fmla="*/ 414888 w 2150576"/>
                  <a:gd name="connsiteY30" fmla="*/ 3021971 h 3240021"/>
                  <a:gd name="connsiteX31" fmla="*/ 255813 w 2150576"/>
                  <a:gd name="connsiteY31" fmla="*/ 2871540 h 3240021"/>
                  <a:gd name="connsiteX32" fmla="*/ 249959 w 2150576"/>
                  <a:gd name="connsiteY32" fmla="*/ 2863521 h 3240021"/>
                  <a:gd name="connsiteX33" fmla="*/ 127836 w 2150576"/>
                  <a:gd name="connsiteY33" fmla="*/ 2687890 h 3240021"/>
                  <a:gd name="connsiteX34" fmla="*/ 123229 w 2150576"/>
                  <a:gd name="connsiteY34" fmla="*/ 2680697 h 3240021"/>
                  <a:gd name="connsiteX35" fmla="*/ 110343 w 2150576"/>
                  <a:gd name="connsiteY35" fmla="*/ 2660890 h 3240021"/>
                  <a:gd name="connsiteX36" fmla="*/ 90574 w 2150576"/>
                  <a:gd name="connsiteY36" fmla="*/ 2618043 h 3240021"/>
                  <a:gd name="connsiteX37" fmla="*/ 79083 w 2150576"/>
                  <a:gd name="connsiteY37" fmla="*/ 2583002 h 3240021"/>
                  <a:gd name="connsiteX38" fmla="*/ 73913 w 2150576"/>
                  <a:gd name="connsiteY38" fmla="*/ 2571002 h 3240021"/>
                  <a:gd name="connsiteX39" fmla="*/ 48611 w 2150576"/>
                  <a:gd name="connsiteY39" fmla="*/ 2500219 h 3240021"/>
                  <a:gd name="connsiteX40" fmla="*/ 43678 w 2150576"/>
                  <a:gd name="connsiteY40" fmla="*/ 2491778 h 3240021"/>
                  <a:gd name="connsiteX41" fmla="*/ 31317 w 2150576"/>
                  <a:gd name="connsiteY41" fmla="*/ 2453689 h 3240021"/>
                  <a:gd name="connsiteX42" fmla="*/ 18163 w 2150576"/>
                  <a:gd name="connsiteY42" fmla="*/ 2388177 h 3240021"/>
                  <a:gd name="connsiteX43" fmla="*/ 6608 w 2150576"/>
                  <a:gd name="connsiteY43" fmla="*/ 2327235 h 3240021"/>
                  <a:gd name="connsiteX44" fmla="*/ 6377 w 2150576"/>
                  <a:gd name="connsiteY44" fmla="*/ 133 h 3240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150576" h="3240021">
                    <a:moveTo>
                      <a:pt x="6377" y="133"/>
                    </a:moveTo>
                    <a:cubicBezTo>
                      <a:pt x="13282" y="-2169"/>
                      <a:pt x="34810" y="18874"/>
                      <a:pt x="636700" y="616296"/>
                    </a:cubicBezTo>
                    <a:cubicBezTo>
                      <a:pt x="837807" y="815911"/>
                      <a:pt x="1024289" y="1000420"/>
                      <a:pt x="1051104" y="1026317"/>
                    </a:cubicBezTo>
                    <a:cubicBezTo>
                      <a:pt x="1077918" y="1052214"/>
                      <a:pt x="1331588" y="1303300"/>
                      <a:pt x="1614815" y="1584287"/>
                    </a:cubicBezTo>
                    <a:cubicBezTo>
                      <a:pt x="1898042" y="1865274"/>
                      <a:pt x="2134840" y="2098868"/>
                      <a:pt x="2141034" y="2103385"/>
                    </a:cubicBezTo>
                    <a:cubicBezTo>
                      <a:pt x="2151367" y="2110922"/>
                      <a:pt x="2152023" y="2118856"/>
                      <a:pt x="2149004" y="2199611"/>
                    </a:cubicBezTo>
                    <a:cubicBezTo>
                      <a:pt x="2147192" y="2248017"/>
                      <a:pt x="2141758" y="2313676"/>
                      <a:pt x="2136926" y="2345517"/>
                    </a:cubicBezTo>
                    <a:cubicBezTo>
                      <a:pt x="2126596" y="2413587"/>
                      <a:pt x="2103157" y="2506144"/>
                      <a:pt x="2095515" y="2509044"/>
                    </a:cubicBezTo>
                    <a:cubicBezTo>
                      <a:pt x="2092570" y="2510162"/>
                      <a:pt x="2090161" y="2516230"/>
                      <a:pt x="2090161" y="2522530"/>
                    </a:cubicBezTo>
                    <a:cubicBezTo>
                      <a:pt x="2090161" y="2543734"/>
                      <a:pt x="2035701" y="2665630"/>
                      <a:pt x="2004521" y="2714215"/>
                    </a:cubicBezTo>
                    <a:cubicBezTo>
                      <a:pt x="1998068" y="2724269"/>
                      <a:pt x="1990962" y="2736610"/>
                      <a:pt x="1988731" y="2741638"/>
                    </a:cubicBezTo>
                    <a:cubicBezTo>
                      <a:pt x="1986499" y="2746665"/>
                      <a:pt x="1975501" y="2762210"/>
                      <a:pt x="1964287" y="2776182"/>
                    </a:cubicBezTo>
                    <a:cubicBezTo>
                      <a:pt x="1953075" y="2790154"/>
                      <a:pt x="1943900" y="2803582"/>
                      <a:pt x="1943900" y="2806025"/>
                    </a:cubicBezTo>
                    <a:cubicBezTo>
                      <a:pt x="1943900" y="2833988"/>
                      <a:pt x="1693927" y="3070724"/>
                      <a:pt x="1664400" y="3070724"/>
                    </a:cubicBezTo>
                    <a:cubicBezTo>
                      <a:pt x="1661150" y="3070724"/>
                      <a:pt x="1657575" y="3072889"/>
                      <a:pt x="1656458" y="3075535"/>
                    </a:cubicBezTo>
                    <a:cubicBezTo>
                      <a:pt x="1653301" y="3083012"/>
                      <a:pt x="1598752" y="3114544"/>
                      <a:pt x="1541684" y="3141878"/>
                    </a:cubicBezTo>
                    <a:cubicBezTo>
                      <a:pt x="1464033" y="3179072"/>
                      <a:pt x="1446341" y="3186512"/>
                      <a:pt x="1435556" y="3186512"/>
                    </a:cubicBezTo>
                    <a:cubicBezTo>
                      <a:pt x="1430153" y="3186512"/>
                      <a:pt x="1420968" y="3189244"/>
                      <a:pt x="1415148" y="3192582"/>
                    </a:cubicBezTo>
                    <a:cubicBezTo>
                      <a:pt x="1394728" y="3204292"/>
                      <a:pt x="1312559" y="3224464"/>
                      <a:pt x="1252211" y="3232582"/>
                    </a:cubicBezTo>
                    <a:cubicBezTo>
                      <a:pt x="1178312" y="3242521"/>
                      <a:pt x="962769" y="3242502"/>
                      <a:pt x="889608" y="3232520"/>
                    </a:cubicBezTo>
                    <a:lnTo>
                      <a:pt x="889608" y="3232549"/>
                    </a:lnTo>
                    <a:cubicBezTo>
                      <a:pt x="861118" y="3228673"/>
                      <a:pt x="833693" y="3223877"/>
                      <a:pt x="828666" y="3221890"/>
                    </a:cubicBezTo>
                    <a:cubicBezTo>
                      <a:pt x="823638" y="3219904"/>
                      <a:pt x="800328" y="3213507"/>
                      <a:pt x="776866" y="3207676"/>
                    </a:cubicBezTo>
                    <a:cubicBezTo>
                      <a:pt x="753403" y="3201843"/>
                      <a:pt x="731601" y="3194695"/>
                      <a:pt x="728417" y="3191792"/>
                    </a:cubicBezTo>
                    <a:cubicBezTo>
                      <a:pt x="725233" y="3188888"/>
                      <a:pt x="718791" y="3186512"/>
                      <a:pt x="714102" y="3186512"/>
                    </a:cubicBezTo>
                    <a:cubicBezTo>
                      <a:pt x="709414" y="3186512"/>
                      <a:pt x="696936" y="3182725"/>
                      <a:pt x="686374" y="3178094"/>
                    </a:cubicBezTo>
                    <a:cubicBezTo>
                      <a:pt x="675812" y="3173465"/>
                      <a:pt x="656201" y="3165023"/>
                      <a:pt x="642793" y="3159335"/>
                    </a:cubicBezTo>
                    <a:cubicBezTo>
                      <a:pt x="606608" y="3143985"/>
                      <a:pt x="524590" y="3101813"/>
                      <a:pt x="517868" y="3095101"/>
                    </a:cubicBezTo>
                    <a:cubicBezTo>
                      <a:pt x="516189" y="3093424"/>
                      <a:pt x="507544" y="3087939"/>
                      <a:pt x="498656" y="3082912"/>
                    </a:cubicBezTo>
                    <a:cubicBezTo>
                      <a:pt x="468160" y="3065661"/>
                      <a:pt x="420356" y="3031305"/>
                      <a:pt x="420356" y="3026639"/>
                    </a:cubicBezTo>
                    <a:cubicBezTo>
                      <a:pt x="420356" y="3024071"/>
                      <a:pt x="417896" y="3021971"/>
                      <a:pt x="414888" y="3021971"/>
                    </a:cubicBezTo>
                    <a:cubicBezTo>
                      <a:pt x="401456" y="3021971"/>
                      <a:pt x="255813" y="2884241"/>
                      <a:pt x="255813" y="2871540"/>
                    </a:cubicBezTo>
                    <a:cubicBezTo>
                      <a:pt x="255813" y="2867129"/>
                      <a:pt x="253178" y="2863521"/>
                      <a:pt x="249959" y="2863521"/>
                    </a:cubicBezTo>
                    <a:cubicBezTo>
                      <a:pt x="239140" y="2863521"/>
                      <a:pt x="127836" y="2703448"/>
                      <a:pt x="127836" y="2687890"/>
                    </a:cubicBezTo>
                    <a:cubicBezTo>
                      <a:pt x="127836" y="2683934"/>
                      <a:pt x="125763" y="2680697"/>
                      <a:pt x="123229" y="2680697"/>
                    </a:cubicBezTo>
                    <a:cubicBezTo>
                      <a:pt x="120696" y="2680697"/>
                      <a:pt x="114897" y="2671784"/>
                      <a:pt x="110343" y="2660890"/>
                    </a:cubicBezTo>
                    <a:cubicBezTo>
                      <a:pt x="105790" y="2649998"/>
                      <a:pt x="96894" y="2630716"/>
                      <a:pt x="90574" y="2618043"/>
                    </a:cubicBezTo>
                    <a:cubicBezTo>
                      <a:pt x="84253" y="2605372"/>
                      <a:pt x="79083" y="2589603"/>
                      <a:pt x="79083" y="2583002"/>
                    </a:cubicBezTo>
                    <a:cubicBezTo>
                      <a:pt x="79083" y="2576402"/>
                      <a:pt x="76757" y="2571002"/>
                      <a:pt x="73913" y="2571002"/>
                    </a:cubicBezTo>
                    <a:cubicBezTo>
                      <a:pt x="68572" y="2571002"/>
                      <a:pt x="48611" y="2515163"/>
                      <a:pt x="48611" y="2500219"/>
                    </a:cubicBezTo>
                    <a:cubicBezTo>
                      <a:pt x="48611" y="2495576"/>
                      <a:pt x="46391" y="2491778"/>
                      <a:pt x="43678" y="2491778"/>
                    </a:cubicBezTo>
                    <a:cubicBezTo>
                      <a:pt x="40964" y="2491778"/>
                      <a:pt x="35402" y="2474638"/>
                      <a:pt x="31317" y="2453689"/>
                    </a:cubicBezTo>
                    <a:cubicBezTo>
                      <a:pt x="27232" y="2432740"/>
                      <a:pt x="21314" y="2403259"/>
                      <a:pt x="18163" y="2388177"/>
                    </a:cubicBezTo>
                    <a:cubicBezTo>
                      <a:pt x="15014" y="2373093"/>
                      <a:pt x="9814" y="2345670"/>
                      <a:pt x="6608" y="2327235"/>
                    </a:cubicBezTo>
                    <a:cubicBezTo>
                      <a:pt x="-2049" y="2277457"/>
                      <a:pt x="-2275" y="3018"/>
                      <a:pt x="6377" y="133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21B776C-A255-4DB5-87C5-216F315264EC}"/>
                </a:ext>
              </a:extLst>
            </p:cNvPr>
            <p:cNvSpPr/>
            <p:nvPr/>
          </p:nvSpPr>
          <p:spPr bwMode="ltGray">
            <a:xfrm>
              <a:off x="8224347" y="3592176"/>
              <a:ext cx="2150575" cy="3240020"/>
            </a:xfrm>
            <a:custGeom>
              <a:avLst/>
              <a:gdLst>
                <a:gd name="connsiteX0" fmla="*/ 896247 w 2166626"/>
                <a:gd name="connsiteY0" fmla="*/ 3256674 h 3264202"/>
                <a:gd name="connsiteX1" fmla="*/ 834850 w 2166626"/>
                <a:gd name="connsiteY1" fmla="*/ 3245936 h 3264202"/>
                <a:gd name="connsiteX2" fmla="*/ 782663 w 2166626"/>
                <a:gd name="connsiteY2" fmla="*/ 3231615 h 3264202"/>
                <a:gd name="connsiteX3" fmla="*/ 733853 w 2166626"/>
                <a:gd name="connsiteY3" fmla="*/ 3215613 h 3264202"/>
                <a:gd name="connsiteX4" fmla="*/ 719431 w 2166626"/>
                <a:gd name="connsiteY4" fmla="*/ 3210294 h 3264202"/>
                <a:gd name="connsiteX5" fmla="*/ 691496 w 2166626"/>
                <a:gd name="connsiteY5" fmla="*/ 3201813 h 3264202"/>
                <a:gd name="connsiteX6" fmla="*/ 647590 w 2166626"/>
                <a:gd name="connsiteY6" fmla="*/ 3182914 h 3264202"/>
                <a:gd name="connsiteX7" fmla="*/ 521732 w 2166626"/>
                <a:gd name="connsiteY7" fmla="*/ 3118200 h 3264202"/>
                <a:gd name="connsiteX8" fmla="*/ 502377 w 2166626"/>
                <a:gd name="connsiteY8" fmla="*/ 3105920 h 3264202"/>
                <a:gd name="connsiteX9" fmla="*/ 423493 w 2166626"/>
                <a:gd name="connsiteY9" fmla="*/ 3049227 h 3264202"/>
                <a:gd name="connsiteX10" fmla="*/ 417984 w 2166626"/>
                <a:gd name="connsiteY10" fmla="*/ 3044524 h 3264202"/>
                <a:gd name="connsiteX11" fmla="*/ 257722 w 2166626"/>
                <a:gd name="connsiteY11" fmla="*/ 2892971 h 3264202"/>
                <a:gd name="connsiteX12" fmla="*/ 251824 w 2166626"/>
                <a:gd name="connsiteY12" fmla="*/ 2884892 h 3264202"/>
                <a:gd name="connsiteX13" fmla="*/ 128789 w 2166626"/>
                <a:gd name="connsiteY13" fmla="*/ 2707950 h 3264202"/>
                <a:gd name="connsiteX14" fmla="*/ 124148 w 2166626"/>
                <a:gd name="connsiteY14" fmla="*/ 2700703 h 3264202"/>
                <a:gd name="connsiteX15" fmla="*/ 111166 w 2166626"/>
                <a:gd name="connsiteY15" fmla="*/ 2680749 h 3264202"/>
                <a:gd name="connsiteX16" fmla="*/ 91249 w 2166626"/>
                <a:gd name="connsiteY16" fmla="*/ 2637582 h 3264202"/>
                <a:gd name="connsiteX17" fmla="*/ 79672 w 2166626"/>
                <a:gd name="connsiteY17" fmla="*/ 2602279 h 3264202"/>
                <a:gd name="connsiteX18" fmla="*/ 74464 w 2166626"/>
                <a:gd name="connsiteY18" fmla="*/ 2590190 h 3264202"/>
                <a:gd name="connsiteX19" fmla="*/ 48973 w 2166626"/>
                <a:gd name="connsiteY19" fmla="*/ 2518878 h 3264202"/>
                <a:gd name="connsiteX20" fmla="*/ 44003 w 2166626"/>
                <a:gd name="connsiteY20" fmla="*/ 2510374 h 3264202"/>
                <a:gd name="connsiteX21" fmla="*/ 31550 w 2166626"/>
                <a:gd name="connsiteY21" fmla="*/ 2472001 h 3264202"/>
                <a:gd name="connsiteX22" fmla="*/ 18298 w 2166626"/>
                <a:gd name="connsiteY22" fmla="*/ 2406000 h 3264202"/>
                <a:gd name="connsiteX23" fmla="*/ 6657 w 2166626"/>
                <a:gd name="connsiteY23" fmla="*/ 2344603 h 3264202"/>
                <a:gd name="connsiteX24" fmla="*/ 6424 w 2166626"/>
                <a:gd name="connsiteY24" fmla="*/ 133 h 3264202"/>
                <a:gd name="connsiteX25" fmla="*/ 641451 w 2166626"/>
                <a:gd name="connsiteY25" fmla="*/ 620895 h 3264202"/>
                <a:gd name="connsiteX26" fmla="*/ 1058948 w 2166626"/>
                <a:gd name="connsiteY26" fmla="*/ 1033976 h 3264202"/>
                <a:gd name="connsiteX27" fmla="*/ 1626866 w 2166626"/>
                <a:gd name="connsiteY27" fmla="*/ 1596110 h 3264202"/>
                <a:gd name="connsiteX28" fmla="*/ 2157013 w 2166626"/>
                <a:gd name="connsiteY28" fmla="*/ 2119083 h 3264202"/>
                <a:gd name="connsiteX29" fmla="*/ 2165042 w 2166626"/>
                <a:gd name="connsiteY29" fmla="*/ 2216027 h 3264202"/>
                <a:gd name="connsiteX30" fmla="*/ 2152874 w 2166626"/>
                <a:gd name="connsiteY30" fmla="*/ 2363022 h 3264202"/>
                <a:gd name="connsiteX31" fmla="*/ 2111154 w 2166626"/>
                <a:gd name="connsiteY31" fmla="*/ 2527769 h 3264202"/>
                <a:gd name="connsiteX32" fmla="*/ 2105760 w 2166626"/>
                <a:gd name="connsiteY32" fmla="*/ 2541356 h 3264202"/>
                <a:gd name="connsiteX33" fmla="*/ 2019481 w 2166626"/>
                <a:gd name="connsiteY33" fmla="*/ 2734471 h 3264202"/>
                <a:gd name="connsiteX34" fmla="*/ 2003573 w 2166626"/>
                <a:gd name="connsiteY34" fmla="*/ 2762099 h 3264202"/>
                <a:gd name="connsiteX35" fmla="*/ 1978947 w 2166626"/>
                <a:gd name="connsiteY35" fmla="*/ 2796901 h 3264202"/>
                <a:gd name="connsiteX36" fmla="*/ 1958408 w 2166626"/>
                <a:gd name="connsiteY36" fmla="*/ 2826967 h 3264202"/>
                <a:gd name="connsiteX37" fmla="*/ 1676822 w 2166626"/>
                <a:gd name="connsiteY37" fmla="*/ 3093641 h 3264202"/>
                <a:gd name="connsiteX38" fmla="*/ 1668820 w 2166626"/>
                <a:gd name="connsiteY38" fmla="*/ 3098488 h 3264202"/>
                <a:gd name="connsiteX39" fmla="*/ 1553190 w 2166626"/>
                <a:gd name="connsiteY39" fmla="*/ 3165326 h 3264202"/>
                <a:gd name="connsiteX40" fmla="*/ 1446270 w 2166626"/>
                <a:gd name="connsiteY40" fmla="*/ 3210294 h 3264202"/>
                <a:gd name="connsiteX41" fmla="*/ 1425709 w 2166626"/>
                <a:gd name="connsiteY41" fmla="*/ 3216409 h 3264202"/>
                <a:gd name="connsiteX42" fmla="*/ 1261556 w 2166626"/>
                <a:gd name="connsiteY42" fmla="*/ 3256707 h 3264202"/>
                <a:gd name="connsiteX43" fmla="*/ 896247 w 2166626"/>
                <a:gd name="connsiteY43" fmla="*/ 3256645 h 326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66626" h="3264202">
                  <a:moveTo>
                    <a:pt x="896247" y="3256674"/>
                  </a:moveTo>
                  <a:cubicBezTo>
                    <a:pt x="867544" y="3252769"/>
                    <a:pt x="839915" y="3247937"/>
                    <a:pt x="834850" y="3245936"/>
                  </a:cubicBezTo>
                  <a:cubicBezTo>
                    <a:pt x="829785" y="3243935"/>
                    <a:pt x="806301" y="3237490"/>
                    <a:pt x="782663" y="3231615"/>
                  </a:cubicBezTo>
                  <a:cubicBezTo>
                    <a:pt x="759025" y="3225739"/>
                    <a:pt x="737061" y="3218538"/>
                    <a:pt x="733853" y="3215613"/>
                  </a:cubicBezTo>
                  <a:cubicBezTo>
                    <a:pt x="730645" y="3212687"/>
                    <a:pt x="724155" y="3210294"/>
                    <a:pt x="719431" y="3210294"/>
                  </a:cubicBezTo>
                  <a:cubicBezTo>
                    <a:pt x="714708" y="3210294"/>
                    <a:pt x="702137" y="3206478"/>
                    <a:pt x="691496" y="3201813"/>
                  </a:cubicBezTo>
                  <a:cubicBezTo>
                    <a:pt x="680855" y="3197149"/>
                    <a:pt x="661098" y="3188644"/>
                    <a:pt x="647590" y="3182914"/>
                  </a:cubicBezTo>
                  <a:cubicBezTo>
                    <a:pt x="611135" y="3167449"/>
                    <a:pt x="528505" y="3124962"/>
                    <a:pt x="521732" y="3118200"/>
                  </a:cubicBezTo>
                  <a:cubicBezTo>
                    <a:pt x="520041" y="3116511"/>
                    <a:pt x="511331" y="3110985"/>
                    <a:pt x="502377" y="3105920"/>
                  </a:cubicBezTo>
                  <a:cubicBezTo>
                    <a:pt x="471653" y="3088541"/>
                    <a:pt x="423493" y="3053928"/>
                    <a:pt x="423493" y="3049227"/>
                  </a:cubicBezTo>
                  <a:cubicBezTo>
                    <a:pt x="423493" y="3046640"/>
                    <a:pt x="421014" y="3044524"/>
                    <a:pt x="417984" y="3044524"/>
                  </a:cubicBezTo>
                  <a:cubicBezTo>
                    <a:pt x="404452" y="3044524"/>
                    <a:pt x="257722" y="2905767"/>
                    <a:pt x="257722" y="2892971"/>
                  </a:cubicBezTo>
                  <a:cubicBezTo>
                    <a:pt x="257722" y="2888527"/>
                    <a:pt x="255067" y="2884892"/>
                    <a:pt x="251824" y="2884892"/>
                  </a:cubicBezTo>
                  <a:cubicBezTo>
                    <a:pt x="240924" y="2884892"/>
                    <a:pt x="128789" y="2723624"/>
                    <a:pt x="128789" y="2707950"/>
                  </a:cubicBezTo>
                  <a:cubicBezTo>
                    <a:pt x="128789" y="2703964"/>
                    <a:pt x="126701" y="2700703"/>
                    <a:pt x="124148" y="2700703"/>
                  </a:cubicBezTo>
                  <a:cubicBezTo>
                    <a:pt x="121596" y="2700703"/>
                    <a:pt x="115754" y="2691724"/>
                    <a:pt x="111166" y="2680749"/>
                  </a:cubicBezTo>
                  <a:cubicBezTo>
                    <a:pt x="106579" y="2669775"/>
                    <a:pt x="97616" y="2650349"/>
                    <a:pt x="91249" y="2637582"/>
                  </a:cubicBezTo>
                  <a:cubicBezTo>
                    <a:pt x="84881" y="2624816"/>
                    <a:pt x="79672" y="2608929"/>
                    <a:pt x="79672" y="2602279"/>
                  </a:cubicBezTo>
                  <a:cubicBezTo>
                    <a:pt x="79672" y="2595630"/>
                    <a:pt x="77329" y="2590190"/>
                    <a:pt x="74464" y="2590190"/>
                  </a:cubicBezTo>
                  <a:cubicBezTo>
                    <a:pt x="69083" y="2590190"/>
                    <a:pt x="48973" y="2533934"/>
                    <a:pt x="48973" y="2518878"/>
                  </a:cubicBezTo>
                  <a:cubicBezTo>
                    <a:pt x="48973" y="2514201"/>
                    <a:pt x="46736" y="2510374"/>
                    <a:pt x="44003" y="2510374"/>
                  </a:cubicBezTo>
                  <a:cubicBezTo>
                    <a:pt x="41269" y="2510374"/>
                    <a:pt x="35665" y="2493106"/>
                    <a:pt x="31550" y="2472001"/>
                  </a:cubicBezTo>
                  <a:cubicBezTo>
                    <a:pt x="27434" y="2450896"/>
                    <a:pt x="21472" y="2421195"/>
                    <a:pt x="18298" y="2406000"/>
                  </a:cubicBezTo>
                  <a:cubicBezTo>
                    <a:pt x="15125" y="2390804"/>
                    <a:pt x="9886" y="2363176"/>
                    <a:pt x="6657" y="2344603"/>
                  </a:cubicBezTo>
                  <a:cubicBezTo>
                    <a:pt x="-2065" y="2294454"/>
                    <a:pt x="-2293" y="3039"/>
                    <a:pt x="6424" y="133"/>
                  </a:cubicBezTo>
                  <a:cubicBezTo>
                    <a:pt x="13380" y="-2186"/>
                    <a:pt x="35069" y="19014"/>
                    <a:pt x="641451" y="620895"/>
                  </a:cubicBezTo>
                  <a:cubicBezTo>
                    <a:pt x="844059" y="821999"/>
                    <a:pt x="1031933" y="1007886"/>
                    <a:pt x="1058948" y="1033976"/>
                  </a:cubicBezTo>
                  <a:cubicBezTo>
                    <a:pt x="1085962" y="1060066"/>
                    <a:pt x="1341526" y="1313026"/>
                    <a:pt x="1626866" y="1596110"/>
                  </a:cubicBezTo>
                  <a:cubicBezTo>
                    <a:pt x="1912207" y="1879194"/>
                    <a:pt x="2150773" y="2114532"/>
                    <a:pt x="2157013" y="2119083"/>
                  </a:cubicBezTo>
                  <a:cubicBezTo>
                    <a:pt x="2167423" y="2126676"/>
                    <a:pt x="2168084" y="2134669"/>
                    <a:pt x="2165042" y="2216027"/>
                  </a:cubicBezTo>
                  <a:cubicBezTo>
                    <a:pt x="2163217" y="2264794"/>
                    <a:pt x="2157742" y="2330943"/>
                    <a:pt x="2152874" y="2363022"/>
                  </a:cubicBezTo>
                  <a:cubicBezTo>
                    <a:pt x="2142467" y="2431600"/>
                    <a:pt x="2118853" y="2524848"/>
                    <a:pt x="2111154" y="2527769"/>
                  </a:cubicBezTo>
                  <a:cubicBezTo>
                    <a:pt x="2108187" y="2528896"/>
                    <a:pt x="2105760" y="2535009"/>
                    <a:pt x="2105760" y="2541356"/>
                  </a:cubicBezTo>
                  <a:cubicBezTo>
                    <a:pt x="2105760" y="2562718"/>
                    <a:pt x="2050894" y="2685524"/>
                    <a:pt x="2019481" y="2734471"/>
                  </a:cubicBezTo>
                  <a:cubicBezTo>
                    <a:pt x="2012980" y="2744601"/>
                    <a:pt x="2005821" y="2757034"/>
                    <a:pt x="2003573" y="2762099"/>
                  </a:cubicBezTo>
                  <a:cubicBezTo>
                    <a:pt x="2001325" y="2767164"/>
                    <a:pt x="1990244" y="2782825"/>
                    <a:pt x="1978947" y="2796901"/>
                  </a:cubicBezTo>
                  <a:cubicBezTo>
                    <a:pt x="1967651" y="2810977"/>
                    <a:pt x="1958408" y="2824506"/>
                    <a:pt x="1958408" y="2826967"/>
                  </a:cubicBezTo>
                  <a:cubicBezTo>
                    <a:pt x="1958408" y="2855138"/>
                    <a:pt x="1706569" y="3093641"/>
                    <a:pt x="1676822" y="3093641"/>
                  </a:cubicBezTo>
                  <a:cubicBezTo>
                    <a:pt x="1673547" y="3093641"/>
                    <a:pt x="1669946" y="3095822"/>
                    <a:pt x="1668820" y="3098488"/>
                  </a:cubicBezTo>
                  <a:cubicBezTo>
                    <a:pt x="1665640" y="3106021"/>
                    <a:pt x="1610684" y="3137788"/>
                    <a:pt x="1553190" y="3165326"/>
                  </a:cubicBezTo>
                  <a:cubicBezTo>
                    <a:pt x="1474959" y="3202798"/>
                    <a:pt x="1457135" y="3210294"/>
                    <a:pt x="1446270" y="3210294"/>
                  </a:cubicBezTo>
                  <a:cubicBezTo>
                    <a:pt x="1440826" y="3210294"/>
                    <a:pt x="1431573" y="3213046"/>
                    <a:pt x="1425709" y="3216409"/>
                  </a:cubicBezTo>
                  <a:cubicBezTo>
                    <a:pt x="1405137" y="3228206"/>
                    <a:pt x="1322355" y="3248529"/>
                    <a:pt x="1261556" y="3256707"/>
                  </a:cubicBezTo>
                  <a:cubicBezTo>
                    <a:pt x="1187106" y="3266721"/>
                    <a:pt x="969954" y="3266701"/>
                    <a:pt x="896247" y="3256645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ACD7E31-480C-48CD-B20F-FC2D72107278}"/>
                </a:ext>
              </a:extLst>
            </p:cNvPr>
            <p:cNvSpPr/>
            <p:nvPr/>
          </p:nvSpPr>
          <p:spPr bwMode="ltGray">
            <a:xfrm>
              <a:off x="10479049" y="3530493"/>
              <a:ext cx="1674822" cy="2401637"/>
            </a:xfrm>
            <a:custGeom>
              <a:avLst/>
              <a:gdLst>
                <a:gd name="connsiteX0" fmla="*/ 588675 w 1687322"/>
                <a:gd name="connsiteY0" fmla="*/ 2416247 h 2419562"/>
                <a:gd name="connsiteX1" fmla="*/ 552349 w 1687322"/>
                <a:gd name="connsiteY1" fmla="*/ 2407607 h 2419562"/>
                <a:gd name="connsiteX2" fmla="*/ 432846 w 1687322"/>
                <a:gd name="connsiteY2" fmla="*/ 2382216 h 2419562"/>
                <a:gd name="connsiteX3" fmla="*/ 402148 w 1687322"/>
                <a:gd name="connsiteY3" fmla="*/ 2373230 h 2419562"/>
                <a:gd name="connsiteX4" fmla="*/ 371449 w 1687322"/>
                <a:gd name="connsiteY4" fmla="*/ 2364083 h 2419562"/>
                <a:gd name="connsiteX5" fmla="*/ 334611 w 1687322"/>
                <a:gd name="connsiteY5" fmla="*/ 2348079 h 2419562"/>
                <a:gd name="connsiteX6" fmla="*/ 116716 w 1687322"/>
                <a:gd name="connsiteY6" fmla="*/ 2224255 h 2419562"/>
                <a:gd name="connsiteX7" fmla="*/ 96949 w 1687322"/>
                <a:gd name="connsiteY7" fmla="*/ 2210278 h 2419562"/>
                <a:gd name="connsiteX8" fmla="*/ 11157 w 1687322"/>
                <a:gd name="connsiteY8" fmla="*/ 2135067 h 2419562"/>
                <a:gd name="connsiteX9" fmla="*/ 0 w 1687322"/>
                <a:gd name="connsiteY9" fmla="*/ 1071873 h 2419562"/>
                <a:gd name="connsiteX10" fmla="*/ 3727 w 1687322"/>
                <a:gd name="connsiteY10" fmla="*/ 9712 h 2419562"/>
                <a:gd name="connsiteX11" fmla="*/ 336954 w 1687322"/>
                <a:gd name="connsiteY11" fmla="*/ 0 h 2419562"/>
                <a:gd name="connsiteX12" fmla="*/ 666454 w 1687322"/>
                <a:gd name="connsiteY12" fmla="*/ 0 h 2419562"/>
                <a:gd name="connsiteX13" fmla="*/ 1068760 w 1687322"/>
                <a:gd name="connsiteY13" fmla="*/ 403683 h 2419562"/>
                <a:gd name="connsiteX14" fmla="*/ 1509074 w 1687322"/>
                <a:gd name="connsiteY14" fmla="*/ 862622 h 2419562"/>
                <a:gd name="connsiteX15" fmla="*/ 1551939 w 1687322"/>
                <a:gd name="connsiteY15" fmla="*/ 924019 h 2419562"/>
                <a:gd name="connsiteX16" fmla="*/ 1620908 w 1687322"/>
                <a:gd name="connsiteY16" fmla="*/ 1064159 h 2419562"/>
                <a:gd name="connsiteX17" fmla="*/ 1628876 w 1687322"/>
                <a:gd name="connsiteY17" fmla="*/ 1086720 h 2419562"/>
                <a:gd name="connsiteX18" fmla="*/ 1679444 w 1687322"/>
                <a:gd name="connsiteY18" fmla="*/ 1277049 h 2419562"/>
                <a:gd name="connsiteX19" fmla="*/ 1674299 w 1687322"/>
                <a:gd name="connsiteY19" fmla="*/ 1611661 h 2419562"/>
                <a:gd name="connsiteX20" fmla="*/ 1633587 w 1687322"/>
                <a:gd name="connsiteY20" fmla="*/ 1758877 h 2419562"/>
                <a:gd name="connsiteX21" fmla="*/ 1624629 w 1687322"/>
                <a:gd name="connsiteY21" fmla="*/ 1782197 h 2419562"/>
                <a:gd name="connsiteX22" fmla="*/ 1531058 w 1687322"/>
                <a:gd name="connsiteY22" fmla="*/ 1965175 h 2419562"/>
                <a:gd name="connsiteX23" fmla="*/ 1522636 w 1687322"/>
                <a:gd name="connsiteY23" fmla="*/ 1980703 h 2419562"/>
                <a:gd name="connsiteX24" fmla="*/ 1510356 w 1687322"/>
                <a:gd name="connsiteY24" fmla="*/ 1995389 h 2419562"/>
                <a:gd name="connsiteX25" fmla="*/ 1498077 w 1687322"/>
                <a:gd name="connsiteY25" fmla="*/ 2011071 h 2419562"/>
                <a:gd name="connsiteX26" fmla="*/ 1479829 w 1687322"/>
                <a:gd name="connsiteY26" fmla="*/ 2035809 h 2419562"/>
                <a:gd name="connsiteX27" fmla="*/ 1461410 w 1687322"/>
                <a:gd name="connsiteY27" fmla="*/ 2058846 h 2419562"/>
                <a:gd name="connsiteX28" fmla="*/ 1270760 w 1687322"/>
                <a:gd name="connsiteY28" fmla="*/ 2234837 h 2419562"/>
                <a:gd name="connsiteX29" fmla="*/ 1240844 w 1687322"/>
                <a:gd name="connsiteY29" fmla="*/ 2256325 h 2419562"/>
                <a:gd name="connsiteX30" fmla="*/ 1212534 w 1687322"/>
                <a:gd name="connsiteY30" fmla="*/ 2276010 h 2419562"/>
                <a:gd name="connsiteX31" fmla="*/ 1056022 w 1687322"/>
                <a:gd name="connsiteY31" fmla="*/ 2353036 h 2419562"/>
                <a:gd name="connsiteX32" fmla="*/ 1029793 w 1687322"/>
                <a:gd name="connsiteY32" fmla="*/ 2364622 h 2419562"/>
                <a:gd name="connsiteX33" fmla="*/ 991421 w 1687322"/>
                <a:gd name="connsiteY33" fmla="*/ 2373949 h 2419562"/>
                <a:gd name="connsiteX34" fmla="*/ 963927 w 1687322"/>
                <a:gd name="connsiteY34" fmla="*/ 2382115 h 2419562"/>
                <a:gd name="connsiteX35" fmla="*/ 925554 w 1687322"/>
                <a:gd name="connsiteY35" fmla="*/ 2393433 h 2419562"/>
                <a:gd name="connsiteX36" fmla="*/ 838064 w 1687322"/>
                <a:gd name="connsiteY36" fmla="*/ 2409568 h 2419562"/>
                <a:gd name="connsiteX37" fmla="*/ 588675 w 1687322"/>
                <a:gd name="connsiteY37" fmla="*/ 2416247 h 241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687322" h="2419562">
                  <a:moveTo>
                    <a:pt x="588675" y="2416247"/>
                  </a:moveTo>
                  <a:cubicBezTo>
                    <a:pt x="587147" y="2414719"/>
                    <a:pt x="570800" y="2410831"/>
                    <a:pt x="552349" y="2407607"/>
                  </a:cubicBezTo>
                  <a:cubicBezTo>
                    <a:pt x="471623" y="2393501"/>
                    <a:pt x="438580" y="2386480"/>
                    <a:pt x="432846" y="2382216"/>
                  </a:cubicBezTo>
                  <a:cubicBezTo>
                    <a:pt x="429469" y="2379704"/>
                    <a:pt x="415655" y="2375661"/>
                    <a:pt x="402148" y="2373230"/>
                  </a:cubicBezTo>
                  <a:cubicBezTo>
                    <a:pt x="388640" y="2370800"/>
                    <a:pt x="374826" y="2366683"/>
                    <a:pt x="371449" y="2364083"/>
                  </a:cubicBezTo>
                  <a:cubicBezTo>
                    <a:pt x="368072" y="2361482"/>
                    <a:pt x="351496" y="2354281"/>
                    <a:pt x="334611" y="2348079"/>
                  </a:cubicBezTo>
                  <a:cubicBezTo>
                    <a:pt x="275433" y="2326342"/>
                    <a:pt x="151078" y="2255675"/>
                    <a:pt x="116716" y="2224255"/>
                  </a:cubicBezTo>
                  <a:cubicBezTo>
                    <a:pt x="108309" y="2216567"/>
                    <a:pt x="99413" y="2210278"/>
                    <a:pt x="96949" y="2210278"/>
                  </a:cubicBezTo>
                  <a:cubicBezTo>
                    <a:pt x="93130" y="2210278"/>
                    <a:pt x="49924" y="2172401"/>
                    <a:pt x="11157" y="2135067"/>
                  </a:cubicBezTo>
                  <a:cubicBezTo>
                    <a:pt x="459" y="2124765"/>
                    <a:pt x="0" y="2080998"/>
                    <a:pt x="0" y="1071873"/>
                  </a:cubicBezTo>
                  <a:cubicBezTo>
                    <a:pt x="0" y="493025"/>
                    <a:pt x="1677" y="15053"/>
                    <a:pt x="3727" y="9712"/>
                  </a:cubicBezTo>
                  <a:cubicBezTo>
                    <a:pt x="7061" y="1023"/>
                    <a:pt x="42156" y="0"/>
                    <a:pt x="336954" y="0"/>
                  </a:cubicBezTo>
                  <a:lnTo>
                    <a:pt x="666454" y="0"/>
                  </a:lnTo>
                  <a:lnTo>
                    <a:pt x="1068760" y="403683"/>
                  </a:lnTo>
                  <a:cubicBezTo>
                    <a:pt x="1390142" y="726165"/>
                    <a:pt x="1478711" y="818480"/>
                    <a:pt x="1509074" y="862622"/>
                  </a:cubicBezTo>
                  <a:cubicBezTo>
                    <a:pt x="1529979" y="893014"/>
                    <a:pt x="1549268" y="920642"/>
                    <a:pt x="1551939" y="924019"/>
                  </a:cubicBezTo>
                  <a:cubicBezTo>
                    <a:pt x="1561193" y="935720"/>
                    <a:pt x="1620870" y="1056980"/>
                    <a:pt x="1620908" y="1064159"/>
                  </a:cubicBezTo>
                  <a:cubicBezTo>
                    <a:pt x="1620908" y="1068125"/>
                    <a:pt x="1624514" y="1078278"/>
                    <a:pt x="1628876" y="1086720"/>
                  </a:cubicBezTo>
                  <a:cubicBezTo>
                    <a:pt x="1641276" y="1110722"/>
                    <a:pt x="1668400" y="1212809"/>
                    <a:pt x="1679444" y="1277049"/>
                  </a:cubicBezTo>
                  <a:cubicBezTo>
                    <a:pt x="1691949" y="1349779"/>
                    <a:pt x="1689077" y="1536523"/>
                    <a:pt x="1674299" y="1611661"/>
                  </a:cubicBezTo>
                  <a:cubicBezTo>
                    <a:pt x="1663076" y="1668728"/>
                    <a:pt x="1640658" y="1749790"/>
                    <a:pt x="1633587" y="1758877"/>
                  </a:cubicBezTo>
                  <a:cubicBezTo>
                    <a:pt x="1630900" y="1762328"/>
                    <a:pt x="1626870" y="1772823"/>
                    <a:pt x="1624629" y="1782197"/>
                  </a:cubicBezTo>
                  <a:cubicBezTo>
                    <a:pt x="1617765" y="1810917"/>
                    <a:pt x="1550069" y="1943296"/>
                    <a:pt x="1531058" y="1965175"/>
                  </a:cubicBezTo>
                  <a:cubicBezTo>
                    <a:pt x="1526426" y="1970506"/>
                    <a:pt x="1522636" y="1977494"/>
                    <a:pt x="1522636" y="1980703"/>
                  </a:cubicBezTo>
                  <a:cubicBezTo>
                    <a:pt x="1522636" y="1983913"/>
                    <a:pt x="1517110" y="1990522"/>
                    <a:pt x="1510356" y="1995389"/>
                  </a:cubicBezTo>
                  <a:cubicBezTo>
                    <a:pt x="1503603" y="2000257"/>
                    <a:pt x="1498077" y="2007314"/>
                    <a:pt x="1498077" y="2011071"/>
                  </a:cubicBezTo>
                  <a:cubicBezTo>
                    <a:pt x="1498077" y="2014828"/>
                    <a:pt x="1489865" y="2025960"/>
                    <a:pt x="1479829" y="2035809"/>
                  </a:cubicBezTo>
                  <a:cubicBezTo>
                    <a:pt x="1469792" y="2045658"/>
                    <a:pt x="1461503" y="2056025"/>
                    <a:pt x="1461410" y="2058846"/>
                  </a:cubicBezTo>
                  <a:cubicBezTo>
                    <a:pt x="1460972" y="2072016"/>
                    <a:pt x="1320319" y="2201853"/>
                    <a:pt x="1270760" y="2234837"/>
                  </a:cubicBezTo>
                  <a:cubicBezTo>
                    <a:pt x="1263149" y="2239902"/>
                    <a:pt x="1249687" y="2249572"/>
                    <a:pt x="1240844" y="2256325"/>
                  </a:cubicBezTo>
                  <a:cubicBezTo>
                    <a:pt x="1232000" y="2263079"/>
                    <a:pt x="1219261" y="2271937"/>
                    <a:pt x="1212534" y="2276010"/>
                  </a:cubicBezTo>
                  <a:cubicBezTo>
                    <a:pt x="1195841" y="2286118"/>
                    <a:pt x="1075032" y="2345572"/>
                    <a:pt x="1056022" y="2353036"/>
                  </a:cubicBezTo>
                  <a:cubicBezTo>
                    <a:pt x="1047579" y="2356351"/>
                    <a:pt x="1035777" y="2361564"/>
                    <a:pt x="1029793" y="2364622"/>
                  </a:cubicBezTo>
                  <a:cubicBezTo>
                    <a:pt x="1023810" y="2367679"/>
                    <a:pt x="1006543" y="2371876"/>
                    <a:pt x="991421" y="2373949"/>
                  </a:cubicBezTo>
                  <a:cubicBezTo>
                    <a:pt x="976299" y="2376022"/>
                    <a:pt x="963927" y="2379697"/>
                    <a:pt x="963927" y="2382115"/>
                  </a:cubicBezTo>
                  <a:cubicBezTo>
                    <a:pt x="963927" y="2384534"/>
                    <a:pt x="946659" y="2389626"/>
                    <a:pt x="925554" y="2393433"/>
                  </a:cubicBezTo>
                  <a:cubicBezTo>
                    <a:pt x="904449" y="2397238"/>
                    <a:pt x="865078" y="2404499"/>
                    <a:pt x="838064" y="2409568"/>
                  </a:cubicBezTo>
                  <a:cubicBezTo>
                    <a:pt x="792744" y="2418072"/>
                    <a:pt x="595775" y="2423347"/>
                    <a:pt x="588675" y="2416247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8038B52-ADA8-490A-8B6F-4AFEA6DC1E99}"/>
                </a:ext>
              </a:extLst>
            </p:cNvPr>
            <p:cNvSpPr/>
            <p:nvPr/>
          </p:nvSpPr>
          <p:spPr bwMode="ltGray">
            <a:xfrm>
              <a:off x="8388747" y="3531534"/>
              <a:ext cx="1942794" cy="1949094"/>
            </a:xfrm>
            <a:custGeom>
              <a:avLst/>
              <a:gdLst>
                <a:gd name="connsiteX0" fmla="*/ 973708 w 1957294"/>
                <a:gd name="connsiteY0" fmla="*/ 989463 h 1963641"/>
                <a:gd name="connsiteX1" fmla="*/ 0 w 1957294"/>
                <a:gd name="connsiteY1" fmla="*/ 7098 h 1963641"/>
                <a:gd name="connsiteX2" fmla="*/ 977741 w 1957294"/>
                <a:gd name="connsiteY2" fmla="*/ 467 h 1963641"/>
                <a:gd name="connsiteX3" fmla="*/ 1955482 w 1957294"/>
                <a:gd name="connsiteY3" fmla="*/ 2020 h 1963641"/>
                <a:gd name="connsiteX4" fmla="*/ 1957036 w 1957294"/>
                <a:gd name="connsiteY4" fmla="*/ 982831 h 1963641"/>
                <a:gd name="connsiteX5" fmla="*/ 1953003 w 1957294"/>
                <a:gd name="connsiteY5" fmla="*/ 1963642 h 1963641"/>
                <a:gd name="connsiteX6" fmla="*/ 973708 w 1957294"/>
                <a:gd name="connsiteY6" fmla="*/ 989463 h 196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7294" h="1963641">
                  <a:moveTo>
                    <a:pt x="973708" y="989463"/>
                  </a:moveTo>
                  <a:cubicBezTo>
                    <a:pt x="438169" y="453664"/>
                    <a:pt x="0" y="11601"/>
                    <a:pt x="0" y="7098"/>
                  </a:cubicBezTo>
                  <a:cubicBezTo>
                    <a:pt x="0" y="305"/>
                    <a:pt x="166301" y="-823"/>
                    <a:pt x="977741" y="467"/>
                  </a:cubicBezTo>
                  <a:lnTo>
                    <a:pt x="1955482" y="2020"/>
                  </a:lnTo>
                  <a:lnTo>
                    <a:pt x="1957036" y="982831"/>
                  </a:lnTo>
                  <a:cubicBezTo>
                    <a:pt x="1957964" y="1568967"/>
                    <a:pt x="1956341" y="1963642"/>
                    <a:pt x="1953003" y="1963642"/>
                  </a:cubicBezTo>
                  <a:cubicBezTo>
                    <a:pt x="1949931" y="1963642"/>
                    <a:pt x="1509248" y="1525261"/>
                    <a:pt x="973708" y="98946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AE93C7A-0AED-4658-932C-C0946D03722F}"/>
                </a:ext>
              </a:extLst>
            </p:cNvPr>
            <p:cNvSpPr/>
            <p:nvPr/>
          </p:nvSpPr>
          <p:spPr bwMode="ltGray">
            <a:xfrm>
              <a:off x="5920935" y="2339081"/>
              <a:ext cx="2184430" cy="2152033"/>
            </a:xfrm>
            <a:custGeom>
              <a:avLst/>
              <a:gdLst>
                <a:gd name="connsiteX0" fmla="*/ 957455 w 2200734"/>
                <a:gd name="connsiteY0" fmla="*/ 2163178 h 2168095"/>
                <a:gd name="connsiteX1" fmla="*/ 807034 w 2200734"/>
                <a:gd name="connsiteY1" fmla="*/ 2133636 h 2168095"/>
                <a:gd name="connsiteX2" fmla="*/ 774532 w 2200734"/>
                <a:gd name="connsiteY2" fmla="*/ 2125046 h 2168095"/>
                <a:gd name="connsiteX3" fmla="*/ 737694 w 2200734"/>
                <a:gd name="connsiteY3" fmla="*/ 2115622 h 2168095"/>
                <a:gd name="connsiteX4" fmla="*/ 681170 w 2200734"/>
                <a:gd name="connsiteY4" fmla="*/ 2093279 h 2168095"/>
                <a:gd name="connsiteX5" fmla="*/ 480516 w 2200734"/>
                <a:gd name="connsiteY5" fmla="*/ 1987559 h 2168095"/>
                <a:gd name="connsiteX6" fmla="*/ 415073 w 2200734"/>
                <a:gd name="connsiteY6" fmla="*/ 1945093 h 2168095"/>
                <a:gd name="connsiteX7" fmla="*/ 209732 w 2200734"/>
                <a:gd name="connsiteY7" fmla="*/ 1737519 h 2168095"/>
                <a:gd name="connsiteX8" fmla="*/ 188463 w 2200734"/>
                <a:gd name="connsiteY8" fmla="*/ 1708765 h 2168095"/>
                <a:gd name="connsiteX9" fmla="*/ 171579 w 2200734"/>
                <a:gd name="connsiteY9" fmla="*/ 1683294 h 2168095"/>
                <a:gd name="connsiteX10" fmla="*/ 151566 w 2200734"/>
                <a:gd name="connsiteY10" fmla="*/ 1650651 h 2168095"/>
                <a:gd name="connsiteX11" fmla="*/ 64945 w 2200734"/>
                <a:gd name="connsiteY11" fmla="*/ 1481800 h 2168095"/>
                <a:gd name="connsiteX12" fmla="*/ 54925 w 2200734"/>
                <a:gd name="connsiteY12" fmla="*/ 1443428 h 2168095"/>
                <a:gd name="connsiteX13" fmla="*/ 49064 w 2200734"/>
                <a:gd name="connsiteY13" fmla="*/ 1427471 h 2168095"/>
                <a:gd name="connsiteX14" fmla="*/ 39217 w 2200734"/>
                <a:gd name="connsiteY14" fmla="*/ 1404448 h 2168095"/>
                <a:gd name="connsiteX15" fmla="*/ 25793 w 2200734"/>
                <a:gd name="connsiteY15" fmla="*/ 1353795 h 2168095"/>
                <a:gd name="connsiteX16" fmla="*/ 26316 w 2200734"/>
                <a:gd name="connsiteY16" fmla="*/ 813505 h 2168095"/>
                <a:gd name="connsiteX17" fmla="*/ 36453 w 2200734"/>
                <a:gd name="connsiteY17" fmla="*/ 773598 h 2168095"/>
                <a:gd name="connsiteX18" fmla="*/ 45752 w 2200734"/>
                <a:gd name="connsiteY18" fmla="*/ 743732 h 2168095"/>
                <a:gd name="connsiteX19" fmla="*/ 54924 w 2200734"/>
                <a:gd name="connsiteY19" fmla="*/ 717032 h 2168095"/>
                <a:gd name="connsiteX20" fmla="*/ 143849 w 2200734"/>
                <a:gd name="connsiteY20" fmla="*/ 528437 h 2168095"/>
                <a:gd name="connsiteX21" fmla="*/ 161905 w 2200734"/>
                <a:gd name="connsiteY21" fmla="*/ 500270 h 2168095"/>
                <a:gd name="connsiteX22" fmla="*/ 177312 w 2200734"/>
                <a:gd name="connsiteY22" fmla="*/ 475824 h 2168095"/>
                <a:gd name="connsiteX23" fmla="*/ 197537 w 2200734"/>
                <a:gd name="connsiteY23" fmla="*/ 447080 h 2168095"/>
                <a:gd name="connsiteX24" fmla="*/ 285389 w 2200734"/>
                <a:gd name="connsiteY24" fmla="*/ 340208 h 2168095"/>
                <a:gd name="connsiteX25" fmla="*/ 438923 w 2200734"/>
                <a:gd name="connsiteY25" fmla="*/ 205995 h 2168095"/>
                <a:gd name="connsiteX26" fmla="*/ 472421 w 2200734"/>
                <a:gd name="connsiteY26" fmla="*/ 181128 h 2168095"/>
                <a:gd name="connsiteX27" fmla="*/ 545677 w 2200734"/>
                <a:gd name="connsiteY27" fmla="*/ 138143 h 2168095"/>
                <a:gd name="connsiteX28" fmla="*/ 553259 w 2200734"/>
                <a:gd name="connsiteY28" fmla="*/ 133538 h 2168095"/>
                <a:gd name="connsiteX29" fmla="*/ 688757 w 2200734"/>
                <a:gd name="connsiteY29" fmla="*/ 70606 h 2168095"/>
                <a:gd name="connsiteX30" fmla="*/ 702965 w 2200734"/>
                <a:gd name="connsiteY30" fmla="*/ 65041 h 2168095"/>
                <a:gd name="connsiteX31" fmla="*/ 837730 w 2200734"/>
                <a:gd name="connsiteY31" fmla="*/ 23628 h 2168095"/>
                <a:gd name="connsiteX32" fmla="*/ 1592909 w 2200734"/>
                <a:gd name="connsiteY32" fmla="*/ 112 h 2168095"/>
                <a:gd name="connsiteX33" fmla="*/ 2200735 w 2200734"/>
                <a:gd name="connsiteY33" fmla="*/ 0 h 2168095"/>
                <a:gd name="connsiteX34" fmla="*/ 2200735 w 2200734"/>
                <a:gd name="connsiteY34" fmla="*/ 1083650 h 2168095"/>
                <a:gd name="connsiteX35" fmla="*/ 2200735 w 2200734"/>
                <a:gd name="connsiteY35" fmla="*/ 2167300 h 2168095"/>
                <a:gd name="connsiteX36" fmla="*/ 1595978 w 2200734"/>
                <a:gd name="connsiteY36" fmla="*/ 2168044 h 2168095"/>
                <a:gd name="connsiteX37" fmla="*/ 957454 w 2200734"/>
                <a:gd name="connsiteY37" fmla="*/ 2163178 h 216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00734" h="2168095">
                  <a:moveTo>
                    <a:pt x="957455" y="2163178"/>
                  </a:moveTo>
                  <a:cubicBezTo>
                    <a:pt x="857851" y="2146632"/>
                    <a:pt x="812541" y="2137733"/>
                    <a:pt x="807034" y="2133636"/>
                  </a:cubicBezTo>
                  <a:cubicBezTo>
                    <a:pt x="803656" y="2131124"/>
                    <a:pt x="789031" y="2127258"/>
                    <a:pt x="774532" y="2125046"/>
                  </a:cubicBezTo>
                  <a:cubicBezTo>
                    <a:pt x="760033" y="2122832"/>
                    <a:pt x="743456" y="2118592"/>
                    <a:pt x="737694" y="2115622"/>
                  </a:cubicBezTo>
                  <a:cubicBezTo>
                    <a:pt x="731932" y="2112652"/>
                    <a:pt x="706497" y="2102598"/>
                    <a:pt x="681170" y="2093279"/>
                  </a:cubicBezTo>
                  <a:cubicBezTo>
                    <a:pt x="621153" y="2071197"/>
                    <a:pt x="545573" y="2031375"/>
                    <a:pt x="480516" y="1987559"/>
                  </a:cubicBezTo>
                  <a:cubicBezTo>
                    <a:pt x="451814" y="1968228"/>
                    <a:pt x="422365" y="1949119"/>
                    <a:pt x="415073" y="1945093"/>
                  </a:cubicBezTo>
                  <a:cubicBezTo>
                    <a:pt x="387548" y="1929898"/>
                    <a:pt x="242079" y="1782847"/>
                    <a:pt x="209732" y="1737519"/>
                  </a:cubicBezTo>
                  <a:cubicBezTo>
                    <a:pt x="207320" y="1734139"/>
                    <a:pt x="197749" y="1721200"/>
                    <a:pt x="188463" y="1708765"/>
                  </a:cubicBezTo>
                  <a:cubicBezTo>
                    <a:pt x="179176" y="1696330"/>
                    <a:pt x="171579" y="1684868"/>
                    <a:pt x="171579" y="1683294"/>
                  </a:cubicBezTo>
                  <a:cubicBezTo>
                    <a:pt x="171579" y="1681719"/>
                    <a:pt x="162573" y="1667030"/>
                    <a:pt x="151566" y="1650651"/>
                  </a:cubicBezTo>
                  <a:cubicBezTo>
                    <a:pt x="133805" y="1624222"/>
                    <a:pt x="93391" y="1545442"/>
                    <a:pt x="64945" y="1481800"/>
                  </a:cubicBezTo>
                  <a:cubicBezTo>
                    <a:pt x="59434" y="1469471"/>
                    <a:pt x="54925" y="1452203"/>
                    <a:pt x="54925" y="1443428"/>
                  </a:cubicBezTo>
                  <a:cubicBezTo>
                    <a:pt x="54925" y="1434652"/>
                    <a:pt x="52288" y="1427471"/>
                    <a:pt x="49064" y="1427471"/>
                  </a:cubicBezTo>
                  <a:cubicBezTo>
                    <a:pt x="45840" y="1427471"/>
                    <a:pt x="41408" y="1417111"/>
                    <a:pt x="39217" y="1404448"/>
                  </a:cubicBezTo>
                  <a:cubicBezTo>
                    <a:pt x="37025" y="1391785"/>
                    <a:pt x="30984" y="1368991"/>
                    <a:pt x="25793" y="1353795"/>
                  </a:cubicBezTo>
                  <a:cubicBezTo>
                    <a:pt x="-8850" y="1252383"/>
                    <a:pt x="-8517" y="909645"/>
                    <a:pt x="26316" y="813505"/>
                  </a:cubicBezTo>
                  <a:cubicBezTo>
                    <a:pt x="31821" y="798310"/>
                    <a:pt x="36383" y="780351"/>
                    <a:pt x="36453" y="773598"/>
                  </a:cubicBezTo>
                  <a:cubicBezTo>
                    <a:pt x="36520" y="766844"/>
                    <a:pt x="40708" y="753405"/>
                    <a:pt x="45752" y="743732"/>
                  </a:cubicBezTo>
                  <a:cubicBezTo>
                    <a:pt x="50796" y="734060"/>
                    <a:pt x="54924" y="722045"/>
                    <a:pt x="54924" y="717032"/>
                  </a:cubicBezTo>
                  <a:cubicBezTo>
                    <a:pt x="54924" y="702170"/>
                    <a:pt x="129455" y="544102"/>
                    <a:pt x="143849" y="528437"/>
                  </a:cubicBezTo>
                  <a:cubicBezTo>
                    <a:pt x="147280" y="524702"/>
                    <a:pt x="155406" y="512027"/>
                    <a:pt x="161905" y="500270"/>
                  </a:cubicBezTo>
                  <a:cubicBezTo>
                    <a:pt x="168405" y="488513"/>
                    <a:pt x="175337" y="477513"/>
                    <a:pt x="177312" y="475824"/>
                  </a:cubicBezTo>
                  <a:cubicBezTo>
                    <a:pt x="179286" y="474135"/>
                    <a:pt x="188388" y="461201"/>
                    <a:pt x="197537" y="447080"/>
                  </a:cubicBezTo>
                  <a:cubicBezTo>
                    <a:pt x="212681" y="423710"/>
                    <a:pt x="232326" y="399812"/>
                    <a:pt x="285389" y="340208"/>
                  </a:cubicBezTo>
                  <a:cubicBezTo>
                    <a:pt x="322750" y="298242"/>
                    <a:pt x="386726" y="242317"/>
                    <a:pt x="438923" y="205995"/>
                  </a:cubicBezTo>
                  <a:cubicBezTo>
                    <a:pt x="455658" y="194350"/>
                    <a:pt x="470732" y="183160"/>
                    <a:pt x="472421" y="181128"/>
                  </a:cubicBezTo>
                  <a:cubicBezTo>
                    <a:pt x="477865" y="174577"/>
                    <a:pt x="539956" y="138143"/>
                    <a:pt x="545677" y="138143"/>
                  </a:cubicBezTo>
                  <a:cubicBezTo>
                    <a:pt x="548721" y="138143"/>
                    <a:pt x="552133" y="136071"/>
                    <a:pt x="553259" y="133538"/>
                  </a:cubicBezTo>
                  <a:cubicBezTo>
                    <a:pt x="556758" y="125665"/>
                    <a:pt x="675306" y="70606"/>
                    <a:pt x="688757" y="70606"/>
                  </a:cubicBezTo>
                  <a:cubicBezTo>
                    <a:pt x="693363" y="70606"/>
                    <a:pt x="699757" y="68102"/>
                    <a:pt x="702965" y="65041"/>
                  </a:cubicBezTo>
                  <a:cubicBezTo>
                    <a:pt x="711083" y="57295"/>
                    <a:pt x="786205" y="34211"/>
                    <a:pt x="837730" y="23628"/>
                  </a:cubicBezTo>
                  <a:cubicBezTo>
                    <a:pt x="947243" y="1137"/>
                    <a:pt x="976476" y="226"/>
                    <a:pt x="1592909" y="112"/>
                  </a:cubicBezTo>
                  <a:lnTo>
                    <a:pt x="2200735" y="0"/>
                  </a:lnTo>
                  <a:lnTo>
                    <a:pt x="2200735" y="1083650"/>
                  </a:lnTo>
                  <a:lnTo>
                    <a:pt x="2200735" y="2167300"/>
                  </a:lnTo>
                  <a:lnTo>
                    <a:pt x="1595978" y="2168044"/>
                  </a:lnTo>
                  <a:cubicBezTo>
                    <a:pt x="1255652" y="2168462"/>
                    <a:pt x="976457" y="2166334"/>
                    <a:pt x="957454" y="2163178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A7B5FB1-0B25-4D0F-B929-F3D47D38A838}"/>
                </a:ext>
              </a:extLst>
            </p:cNvPr>
            <p:cNvSpPr/>
            <p:nvPr/>
          </p:nvSpPr>
          <p:spPr bwMode="ltGray">
            <a:xfrm>
              <a:off x="8382685" y="1421907"/>
              <a:ext cx="1950103" cy="1952130"/>
            </a:xfrm>
            <a:custGeom>
              <a:avLst/>
              <a:gdLst>
                <a:gd name="connsiteX0" fmla="*/ 2525 w 1964658"/>
                <a:gd name="connsiteY0" fmla="*/ 1965203 h 1966700"/>
                <a:gd name="connsiteX1" fmla="*/ 0 w 1964658"/>
                <a:gd name="connsiteY1" fmla="*/ 1952923 h 1966700"/>
                <a:gd name="connsiteX2" fmla="*/ 1954086 w 1964658"/>
                <a:gd name="connsiteY2" fmla="*/ 0 h 1966700"/>
                <a:gd name="connsiteX3" fmla="*/ 1964659 w 1964658"/>
                <a:gd name="connsiteY3" fmla="*/ 979468 h 1966700"/>
                <a:gd name="connsiteX4" fmla="*/ 1956984 w 1964658"/>
                <a:gd name="connsiteY4" fmla="*/ 1961805 h 1966700"/>
                <a:gd name="connsiteX5" fmla="*/ 2525 w 1964658"/>
                <a:gd name="connsiteY5" fmla="*/ 1965203 h 19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4658" h="1966700">
                  <a:moveTo>
                    <a:pt x="2525" y="1965203"/>
                  </a:moveTo>
                  <a:cubicBezTo>
                    <a:pt x="1118" y="1963796"/>
                    <a:pt x="-19" y="1958270"/>
                    <a:pt x="0" y="1952923"/>
                  </a:cubicBezTo>
                  <a:cubicBezTo>
                    <a:pt x="62" y="1939618"/>
                    <a:pt x="1940818" y="0"/>
                    <a:pt x="1954086" y="0"/>
                  </a:cubicBezTo>
                  <a:cubicBezTo>
                    <a:pt x="1964046" y="0"/>
                    <a:pt x="1964659" y="56784"/>
                    <a:pt x="1964659" y="979468"/>
                  </a:cubicBezTo>
                  <a:cubicBezTo>
                    <a:pt x="1964659" y="1757420"/>
                    <a:pt x="1963080" y="1959527"/>
                    <a:pt x="1956984" y="1961805"/>
                  </a:cubicBezTo>
                  <a:cubicBezTo>
                    <a:pt x="1947464" y="1965364"/>
                    <a:pt x="6060" y="1968739"/>
                    <a:pt x="2525" y="196520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E47632C-6699-4AE7-93D3-B547EC574995}"/>
                </a:ext>
              </a:extLst>
            </p:cNvPr>
            <p:cNvSpPr/>
            <p:nvPr/>
          </p:nvSpPr>
          <p:spPr bwMode="ltGray">
            <a:xfrm>
              <a:off x="10479049" y="925306"/>
              <a:ext cx="1712951" cy="2451368"/>
            </a:xfrm>
            <a:custGeom>
              <a:avLst/>
              <a:gdLst>
                <a:gd name="connsiteX0" fmla="*/ 328799 w 1725736"/>
                <a:gd name="connsiteY0" fmla="*/ 2466535 h 2469664"/>
                <a:gd name="connsiteX1" fmla="*/ 5026 w 1725736"/>
                <a:gd name="connsiteY1" fmla="*/ 2457270 h 2469664"/>
                <a:gd name="connsiteX2" fmla="*/ 94 w 1725736"/>
                <a:gd name="connsiteY2" fmla="*/ 1391036 h 2469664"/>
                <a:gd name="connsiteX3" fmla="*/ 0 w 1725736"/>
                <a:gd name="connsiteY3" fmla="*/ 332421 h 2469664"/>
                <a:gd name="connsiteX4" fmla="*/ 41443 w 1725736"/>
                <a:gd name="connsiteY4" fmla="*/ 291932 h 2469664"/>
                <a:gd name="connsiteX5" fmla="*/ 183623 w 1725736"/>
                <a:gd name="connsiteY5" fmla="*/ 174907 h 2469664"/>
                <a:gd name="connsiteX6" fmla="*/ 190329 w 1725736"/>
                <a:gd name="connsiteY6" fmla="*/ 170091 h 2469664"/>
                <a:gd name="connsiteX7" fmla="*/ 210283 w 1725736"/>
                <a:gd name="connsiteY7" fmla="*/ 153669 h 2469664"/>
                <a:gd name="connsiteX8" fmla="*/ 233307 w 1725736"/>
                <a:gd name="connsiteY8" fmla="*/ 138262 h 2469664"/>
                <a:gd name="connsiteX9" fmla="*/ 310053 w 1725736"/>
                <a:gd name="connsiteY9" fmla="*/ 99088 h 2469664"/>
                <a:gd name="connsiteX10" fmla="*/ 393717 w 1725736"/>
                <a:gd name="connsiteY10" fmla="*/ 58334 h 2469664"/>
                <a:gd name="connsiteX11" fmla="*/ 427485 w 1725736"/>
                <a:gd name="connsiteY11" fmla="*/ 48663 h 2469664"/>
                <a:gd name="connsiteX12" fmla="*/ 457405 w 1725736"/>
                <a:gd name="connsiteY12" fmla="*/ 39578 h 2469664"/>
                <a:gd name="connsiteX13" fmla="*/ 494243 w 1725736"/>
                <a:gd name="connsiteY13" fmla="*/ 28698 h 2469664"/>
                <a:gd name="connsiteX14" fmla="*/ 561779 w 1725736"/>
                <a:gd name="connsiteY14" fmla="*/ 11887 h 2469664"/>
                <a:gd name="connsiteX15" fmla="*/ 924019 w 1725736"/>
                <a:gd name="connsiteY15" fmla="*/ 11795 h 2469664"/>
                <a:gd name="connsiteX16" fmla="*/ 991555 w 1725736"/>
                <a:gd name="connsiteY16" fmla="*/ 28698 h 2469664"/>
                <a:gd name="connsiteX17" fmla="*/ 1028393 w 1725736"/>
                <a:gd name="connsiteY17" fmla="*/ 39514 h 2469664"/>
                <a:gd name="connsiteX18" fmla="*/ 1055862 w 1725736"/>
                <a:gd name="connsiteY18" fmla="*/ 48302 h 2469664"/>
                <a:gd name="connsiteX19" fmla="*/ 1293897 w 1725736"/>
                <a:gd name="connsiteY19" fmla="*/ 166882 h 2469664"/>
                <a:gd name="connsiteX20" fmla="*/ 1476588 w 1725736"/>
                <a:gd name="connsiteY20" fmla="*/ 325702 h 2469664"/>
                <a:gd name="connsiteX21" fmla="*/ 1517902 w 1725736"/>
                <a:gd name="connsiteY21" fmla="*/ 374036 h 2469664"/>
                <a:gd name="connsiteX22" fmla="*/ 1544410 w 1725736"/>
                <a:gd name="connsiteY22" fmla="*/ 409749 h 2469664"/>
                <a:gd name="connsiteX23" fmla="*/ 1553748 w 1725736"/>
                <a:gd name="connsiteY23" fmla="*/ 420493 h 2469664"/>
                <a:gd name="connsiteX24" fmla="*/ 1559474 w 1725736"/>
                <a:gd name="connsiteY24" fmla="*/ 425933 h 2469664"/>
                <a:gd name="connsiteX25" fmla="*/ 1584032 w 1725736"/>
                <a:gd name="connsiteY25" fmla="*/ 468150 h 2469664"/>
                <a:gd name="connsiteX26" fmla="*/ 1608591 w 1725736"/>
                <a:gd name="connsiteY26" fmla="*/ 511827 h 2469664"/>
                <a:gd name="connsiteX27" fmla="*/ 1614731 w 1725736"/>
                <a:gd name="connsiteY27" fmla="*/ 518728 h 2469664"/>
                <a:gd name="connsiteX28" fmla="*/ 1620870 w 1725736"/>
                <a:gd name="connsiteY28" fmla="*/ 524258 h 2469664"/>
                <a:gd name="connsiteX29" fmla="*/ 1644508 w 1725736"/>
                <a:gd name="connsiteY29" fmla="*/ 581050 h 2469664"/>
                <a:gd name="connsiteX30" fmla="*/ 1679115 w 1725736"/>
                <a:gd name="connsiteY30" fmla="*/ 666080 h 2469664"/>
                <a:gd name="connsiteX31" fmla="*/ 1695552 w 1725736"/>
                <a:gd name="connsiteY31" fmla="*/ 712127 h 2469664"/>
                <a:gd name="connsiteX32" fmla="*/ 1706662 w 1725736"/>
                <a:gd name="connsiteY32" fmla="*/ 755105 h 2469664"/>
                <a:gd name="connsiteX33" fmla="*/ 1719063 w 1725736"/>
                <a:gd name="connsiteY33" fmla="*/ 816501 h 2469664"/>
                <a:gd name="connsiteX34" fmla="*/ 1719002 w 1725736"/>
                <a:gd name="connsiteY34" fmla="*/ 1154183 h 2469664"/>
                <a:gd name="connsiteX35" fmla="*/ 1706792 w 1725736"/>
                <a:gd name="connsiteY35" fmla="*/ 1212509 h 2469664"/>
                <a:gd name="connsiteX36" fmla="*/ 1677162 w 1725736"/>
                <a:gd name="connsiteY36" fmla="*/ 1312679 h 2469664"/>
                <a:gd name="connsiteX37" fmla="*/ 1669968 w 1725736"/>
                <a:gd name="connsiteY37" fmla="*/ 1335122 h 2469664"/>
                <a:gd name="connsiteX38" fmla="*/ 1658561 w 1725736"/>
                <a:gd name="connsiteY38" fmla="*/ 1363886 h 2469664"/>
                <a:gd name="connsiteX39" fmla="*/ 1591776 w 1725736"/>
                <a:gd name="connsiteY39" fmla="*/ 1493411 h 2469664"/>
                <a:gd name="connsiteX40" fmla="*/ 1577873 w 1725736"/>
                <a:gd name="connsiteY40" fmla="*/ 1519254 h 2469664"/>
                <a:gd name="connsiteX41" fmla="*/ 1573268 w 1725736"/>
                <a:gd name="connsiteY41" fmla="*/ 1526655 h 2469664"/>
                <a:gd name="connsiteX42" fmla="*/ 1547524 w 1725736"/>
                <a:gd name="connsiteY42" fmla="*/ 1559400 h 2469664"/>
                <a:gd name="connsiteX43" fmla="*/ 1512221 w 1725736"/>
                <a:gd name="connsiteY43" fmla="*/ 1603619 h 2469664"/>
                <a:gd name="connsiteX44" fmla="*/ 1498057 w 1725736"/>
                <a:gd name="connsiteY44" fmla="*/ 1622099 h 2469664"/>
                <a:gd name="connsiteX45" fmla="*/ 650680 w 1725736"/>
                <a:gd name="connsiteY45" fmla="*/ 2469661 h 2469664"/>
                <a:gd name="connsiteX46" fmla="*/ 328780 w 1725736"/>
                <a:gd name="connsiteY46" fmla="*/ 2466536 h 246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725736" h="2469664">
                  <a:moveTo>
                    <a:pt x="328799" y="2466535"/>
                  </a:moveTo>
                  <a:cubicBezTo>
                    <a:pt x="83066" y="2465266"/>
                    <a:pt x="8755" y="2463140"/>
                    <a:pt x="5026" y="2457270"/>
                  </a:cubicBezTo>
                  <a:cubicBezTo>
                    <a:pt x="2365" y="2453079"/>
                    <a:pt x="145" y="1973274"/>
                    <a:pt x="94" y="1391036"/>
                  </a:cubicBezTo>
                  <a:lnTo>
                    <a:pt x="0" y="332421"/>
                  </a:lnTo>
                  <a:lnTo>
                    <a:pt x="41443" y="291932"/>
                  </a:lnTo>
                  <a:cubicBezTo>
                    <a:pt x="102158" y="232614"/>
                    <a:pt x="172270" y="174907"/>
                    <a:pt x="183623" y="174907"/>
                  </a:cubicBezTo>
                  <a:cubicBezTo>
                    <a:pt x="187312" y="174907"/>
                    <a:pt x="190329" y="172740"/>
                    <a:pt x="190329" y="170091"/>
                  </a:cubicBezTo>
                  <a:cubicBezTo>
                    <a:pt x="190329" y="167442"/>
                    <a:pt x="199308" y="160052"/>
                    <a:pt x="210283" y="153669"/>
                  </a:cubicBezTo>
                  <a:cubicBezTo>
                    <a:pt x="221258" y="147286"/>
                    <a:pt x="231619" y="140353"/>
                    <a:pt x="233307" y="138262"/>
                  </a:cubicBezTo>
                  <a:cubicBezTo>
                    <a:pt x="234995" y="136172"/>
                    <a:pt x="269531" y="118543"/>
                    <a:pt x="310053" y="99088"/>
                  </a:cubicBezTo>
                  <a:cubicBezTo>
                    <a:pt x="350574" y="79632"/>
                    <a:pt x="388224" y="61293"/>
                    <a:pt x="393717" y="58334"/>
                  </a:cubicBezTo>
                  <a:cubicBezTo>
                    <a:pt x="399211" y="55375"/>
                    <a:pt x="414406" y="51023"/>
                    <a:pt x="427485" y="48663"/>
                  </a:cubicBezTo>
                  <a:cubicBezTo>
                    <a:pt x="440564" y="46304"/>
                    <a:pt x="454028" y="42215"/>
                    <a:pt x="457405" y="39578"/>
                  </a:cubicBezTo>
                  <a:cubicBezTo>
                    <a:pt x="460781" y="36940"/>
                    <a:pt x="477359" y="32044"/>
                    <a:pt x="494243" y="28698"/>
                  </a:cubicBezTo>
                  <a:cubicBezTo>
                    <a:pt x="511127" y="25352"/>
                    <a:pt x="541518" y="17787"/>
                    <a:pt x="561779" y="11887"/>
                  </a:cubicBezTo>
                  <a:cubicBezTo>
                    <a:pt x="616048" y="-3915"/>
                    <a:pt x="870305" y="-3979"/>
                    <a:pt x="924019" y="11795"/>
                  </a:cubicBezTo>
                  <a:cubicBezTo>
                    <a:pt x="944280" y="17745"/>
                    <a:pt x="974671" y="25352"/>
                    <a:pt x="991555" y="28698"/>
                  </a:cubicBezTo>
                  <a:cubicBezTo>
                    <a:pt x="1008439" y="32044"/>
                    <a:pt x="1025016" y="36912"/>
                    <a:pt x="1028393" y="39514"/>
                  </a:cubicBezTo>
                  <a:cubicBezTo>
                    <a:pt x="1031770" y="42117"/>
                    <a:pt x="1044131" y="46071"/>
                    <a:pt x="1055862" y="48302"/>
                  </a:cubicBezTo>
                  <a:cubicBezTo>
                    <a:pt x="1098148" y="56341"/>
                    <a:pt x="1219085" y="116588"/>
                    <a:pt x="1293897" y="166882"/>
                  </a:cubicBezTo>
                  <a:cubicBezTo>
                    <a:pt x="1351409" y="205546"/>
                    <a:pt x="1448196" y="289686"/>
                    <a:pt x="1476588" y="325702"/>
                  </a:cubicBezTo>
                  <a:cubicBezTo>
                    <a:pt x="1486719" y="338553"/>
                    <a:pt x="1505310" y="360303"/>
                    <a:pt x="1517902" y="374036"/>
                  </a:cubicBezTo>
                  <a:cubicBezTo>
                    <a:pt x="1530494" y="387769"/>
                    <a:pt x="1542423" y="403839"/>
                    <a:pt x="1544410" y="409749"/>
                  </a:cubicBezTo>
                  <a:cubicBezTo>
                    <a:pt x="1546396" y="415658"/>
                    <a:pt x="1550599" y="420493"/>
                    <a:pt x="1553748" y="420493"/>
                  </a:cubicBezTo>
                  <a:cubicBezTo>
                    <a:pt x="1556897" y="420493"/>
                    <a:pt x="1559474" y="422941"/>
                    <a:pt x="1559474" y="425933"/>
                  </a:cubicBezTo>
                  <a:cubicBezTo>
                    <a:pt x="1559474" y="428925"/>
                    <a:pt x="1570525" y="447923"/>
                    <a:pt x="1584032" y="468150"/>
                  </a:cubicBezTo>
                  <a:cubicBezTo>
                    <a:pt x="1597539" y="488377"/>
                    <a:pt x="1608591" y="508032"/>
                    <a:pt x="1608591" y="511827"/>
                  </a:cubicBezTo>
                  <a:cubicBezTo>
                    <a:pt x="1608591" y="515623"/>
                    <a:pt x="1611354" y="518728"/>
                    <a:pt x="1614731" y="518728"/>
                  </a:cubicBezTo>
                  <a:cubicBezTo>
                    <a:pt x="1618107" y="518728"/>
                    <a:pt x="1620870" y="521216"/>
                    <a:pt x="1620870" y="524258"/>
                  </a:cubicBezTo>
                  <a:cubicBezTo>
                    <a:pt x="1620870" y="527299"/>
                    <a:pt x="1631507" y="552856"/>
                    <a:pt x="1644508" y="581050"/>
                  </a:cubicBezTo>
                  <a:cubicBezTo>
                    <a:pt x="1657509" y="609244"/>
                    <a:pt x="1673082" y="647507"/>
                    <a:pt x="1679115" y="666080"/>
                  </a:cubicBezTo>
                  <a:cubicBezTo>
                    <a:pt x="1685148" y="684652"/>
                    <a:pt x="1692545" y="705373"/>
                    <a:pt x="1695552" y="712127"/>
                  </a:cubicBezTo>
                  <a:cubicBezTo>
                    <a:pt x="1698559" y="718881"/>
                    <a:pt x="1703558" y="738221"/>
                    <a:pt x="1706662" y="755105"/>
                  </a:cubicBezTo>
                  <a:cubicBezTo>
                    <a:pt x="1709765" y="771989"/>
                    <a:pt x="1715345" y="799617"/>
                    <a:pt x="1719063" y="816501"/>
                  </a:cubicBezTo>
                  <a:cubicBezTo>
                    <a:pt x="1727988" y="857032"/>
                    <a:pt x="1727956" y="1114223"/>
                    <a:pt x="1719002" y="1154183"/>
                  </a:cubicBezTo>
                  <a:cubicBezTo>
                    <a:pt x="1715226" y="1171067"/>
                    <a:pt x="1709732" y="1197314"/>
                    <a:pt x="1706792" y="1212509"/>
                  </a:cubicBezTo>
                  <a:cubicBezTo>
                    <a:pt x="1700827" y="1243344"/>
                    <a:pt x="1688065" y="1286488"/>
                    <a:pt x="1677162" y="1312679"/>
                  </a:cubicBezTo>
                  <a:cubicBezTo>
                    <a:pt x="1673205" y="1322185"/>
                    <a:pt x="1669968" y="1332284"/>
                    <a:pt x="1669968" y="1335122"/>
                  </a:cubicBezTo>
                  <a:cubicBezTo>
                    <a:pt x="1669968" y="1337960"/>
                    <a:pt x="1664834" y="1350904"/>
                    <a:pt x="1658561" y="1363886"/>
                  </a:cubicBezTo>
                  <a:cubicBezTo>
                    <a:pt x="1614260" y="1455556"/>
                    <a:pt x="1604122" y="1475217"/>
                    <a:pt x="1591776" y="1493411"/>
                  </a:cubicBezTo>
                  <a:cubicBezTo>
                    <a:pt x="1584129" y="1504679"/>
                    <a:pt x="1577873" y="1516308"/>
                    <a:pt x="1577873" y="1519254"/>
                  </a:cubicBezTo>
                  <a:cubicBezTo>
                    <a:pt x="1577873" y="1522199"/>
                    <a:pt x="1575801" y="1525530"/>
                    <a:pt x="1573268" y="1526655"/>
                  </a:cubicBezTo>
                  <a:cubicBezTo>
                    <a:pt x="1570736" y="1527781"/>
                    <a:pt x="1559151" y="1542516"/>
                    <a:pt x="1547524" y="1559400"/>
                  </a:cubicBezTo>
                  <a:cubicBezTo>
                    <a:pt x="1535897" y="1576284"/>
                    <a:pt x="1520011" y="1596183"/>
                    <a:pt x="1512221" y="1603619"/>
                  </a:cubicBezTo>
                  <a:cubicBezTo>
                    <a:pt x="1504431" y="1611056"/>
                    <a:pt x="1498057" y="1619372"/>
                    <a:pt x="1498057" y="1622099"/>
                  </a:cubicBezTo>
                  <a:cubicBezTo>
                    <a:pt x="1498057" y="1628246"/>
                    <a:pt x="654781" y="2471706"/>
                    <a:pt x="650680" y="2469661"/>
                  </a:cubicBezTo>
                  <a:cubicBezTo>
                    <a:pt x="649049" y="2468848"/>
                    <a:pt x="504194" y="2467441"/>
                    <a:pt x="328780" y="2466536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19D471C-8C87-42DA-B7E6-0F02BE93A9D2}"/>
                </a:ext>
              </a:extLst>
            </p:cNvPr>
            <p:cNvSpPr/>
            <p:nvPr/>
          </p:nvSpPr>
          <p:spPr bwMode="ltGray">
            <a:xfrm>
              <a:off x="8223342" y="25805"/>
              <a:ext cx="2152512" cy="3260920"/>
            </a:xfrm>
            <a:custGeom>
              <a:avLst/>
              <a:gdLst>
                <a:gd name="connsiteX0" fmla="*/ 837 w 2168578"/>
                <a:gd name="connsiteY0" fmla="*/ 3280654 h 3285258"/>
                <a:gd name="connsiteX1" fmla="*/ 7833 w 2168578"/>
                <a:gd name="connsiteY1" fmla="*/ 915350 h 3285258"/>
                <a:gd name="connsiteX2" fmla="*/ 17238 w 2168578"/>
                <a:gd name="connsiteY2" fmla="*/ 853954 h 3285258"/>
                <a:gd name="connsiteX3" fmla="*/ 25537 w 2168578"/>
                <a:gd name="connsiteY3" fmla="*/ 820185 h 3285258"/>
                <a:gd name="connsiteX4" fmla="*/ 34763 w 2168578"/>
                <a:gd name="connsiteY4" fmla="*/ 789487 h 3285258"/>
                <a:gd name="connsiteX5" fmla="*/ 74447 w 2168578"/>
                <a:gd name="connsiteY5" fmla="*/ 666694 h 3285258"/>
                <a:gd name="connsiteX6" fmla="*/ 83025 w 2168578"/>
                <a:gd name="connsiteY6" fmla="*/ 643670 h 3285258"/>
                <a:gd name="connsiteX7" fmla="*/ 93080 w 2168578"/>
                <a:gd name="connsiteY7" fmla="*/ 626786 h 3285258"/>
                <a:gd name="connsiteX8" fmla="*/ 99103 w 2168578"/>
                <a:gd name="connsiteY8" fmla="*/ 614068 h 3285258"/>
                <a:gd name="connsiteX9" fmla="*/ 108312 w 2168578"/>
                <a:gd name="connsiteY9" fmla="*/ 592141 h 3285258"/>
                <a:gd name="connsiteX10" fmla="*/ 117522 w 2168578"/>
                <a:gd name="connsiteY10" fmla="*/ 571091 h 3285258"/>
                <a:gd name="connsiteX11" fmla="*/ 123248 w 2168578"/>
                <a:gd name="connsiteY11" fmla="*/ 559250 h 3285258"/>
                <a:gd name="connsiteX12" fmla="*/ 133333 w 2168578"/>
                <a:gd name="connsiteY12" fmla="*/ 545516 h 3285258"/>
                <a:gd name="connsiteX13" fmla="*/ 174314 w 2168578"/>
                <a:gd name="connsiteY13" fmla="*/ 480458 h 3285258"/>
                <a:gd name="connsiteX14" fmla="*/ 178919 w 2168578"/>
                <a:gd name="connsiteY14" fmla="*/ 472456 h 3285258"/>
                <a:gd name="connsiteX15" fmla="*/ 317979 w 2168578"/>
                <a:gd name="connsiteY15" fmla="*/ 304189 h 3285258"/>
                <a:gd name="connsiteX16" fmla="*/ 533599 w 2168578"/>
                <a:gd name="connsiteY16" fmla="*/ 134256 h 3285258"/>
                <a:gd name="connsiteX17" fmla="*/ 702024 w 2168578"/>
                <a:gd name="connsiteY17" fmla="*/ 55798 h 3285258"/>
                <a:gd name="connsiteX18" fmla="*/ 716446 w 2168578"/>
                <a:gd name="connsiteY18" fmla="*/ 50279 h 3285258"/>
                <a:gd name="connsiteX19" fmla="*/ 866561 w 2168578"/>
                <a:gd name="connsiteY19" fmla="*/ 9441 h 3285258"/>
                <a:gd name="connsiteX20" fmla="*/ 1354663 w 2168578"/>
                <a:gd name="connsiteY20" fmla="*/ 19350 h 3285258"/>
                <a:gd name="connsiteX21" fmla="*/ 1403781 w 2168578"/>
                <a:gd name="connsiteY21" fmla="*/ 34752 h 3285258"/>
                <a:gd name="connsiteX22" fmla="*/ 1446451 w 2168578"/>
                <a:gd name="connsiteY22" fmla="*/ 50338 h 3285258"/>
                <a:gd name="connsiteX23" fmla="*/ 1463923 w 2168578"/>
                <a:gd name="connsiteY23" fmla="*/ 55798 h 3285258"/>
                <a:gd name="connsiteX24" fmla="*/ 1491859 w 2168578"/>
                <a:gd name="connsiteY24" fmla="*/ 64209 h 3285258"/>
                <a:gd name="connsiteX25" fmla="*/ 1568544 w 2168578"/>
                <a:gd name="connsiteY25" fmla="*/ 102582 h 3285258"/>
                <a:gd name="connsiteX26" fmla="*/ 1652437 w 2168578"/>
                <a:gd name="connsiteY26" fmla="*/ 149349 h 3285258"/>
                <a:gd name="connsiteX27" fmla="*/ 1658398 w 2168578"/>
                <a:gd name="connsiteY27" fmla="*/ 154032 h 3285258"/>
                <a:gd name="connsiteX28" fmla="*/ 1726113 w 2168578"/>
                <a:gd name="connsiteY28" fmla="*/ 197296 h 3285258"/>
                <a:gd name="connsiteX29" fmla="*/ 1766021 w 2168578"/>
                <a:gd name="connsiteY29" fmla="*/ 228896 h 3285258"/>
                <a:gd name="connsiteX30" fmla="*/ 1928722 w 2168578"/>
                <a:gd name="connsiteY30" fmla="*/ 390571 h 3285258"/>
                <a:gd name="connsiteX31" fmla="*/ 1957885 w 2168578"/>
                <a:gd name="connsiteY31" fmla="*/ 428151 h 3285258"/>
                <a:gd name="connsiteX32" fmla="*/ 1977839 w 2168578"/>
                <a:gd name="connsiteY32" fmla="*/ 459852 h 3285258"/>
                <a:gd name="connsiteX33" fmla="*/ 1982555 w 2168578"/>
                <a:gd name="connsiteY33" fmla="*/ 468178 h 3285258"/>
                <a:gd name="connsiteX34" fmla="*/ 2026957 w 2168578"/>
                <a:gd name="connsiteY34" fmla="*/ 539322 h 3285258"/>
                <a:gd name="connsiteX35" fmla="*/ 2031976 w 2168578"/>
                <a:gd name="connsiteY35" fmla="*/ 547994 h 3285258"/>
                <a:gd name="connsiteX36" fmla="*/ 2056956 w 2168578"/>
                <a:gd name="connsiteY36" fmla="*/ 593018 h 3285258"/>
                <a:gd name="connsiteX37" fmla="*/ 2082636 w 2168578"/>
                <a:gd name="connsiteY37" fmla="*/ 646657 h 3285258"/>
                <a:gd name="connsiteX38" fmla="*/ 2088353 w 2168578"/>
                <a:gd name="connsiteY38" fmla="*/ 666611 h 3285258"/>
                <a:gd name="connsiteX39" fmla="*/ 2093809 w 2168578"/>
                <a:gd name="connsiteY39" fmla="*/ 675903 h 3285258"/>
                <a:gd name="connsiteX40" fmla="*/ 2103439 w 2168578"/>
                <a:gd name="connsiteY40" fmla="*/ 698148 h 3285258"/>
                <a:gd name="connsiteX41" fmla="*/ 2113282 w 2168578"/>
                <a:gd name="connsiteY41" fmla="*/ 730381 h 3285258"/>
                <a:gd name="connsiteX42" fmla="*/ 2165641 w 2168578"/>
                <a:gd name="connsiteY42" fmla="*/ 1038143 h 3285258"/>
                <a:gd name="connsiteX43" fmla="*/ 2168579 w 2168578"/>
                <a:gd name="connsiteY43" fmla="*/ 1121029 h 3285258"/>
                <a:gd name="connsiteX44" fmla="*/ 1835982 w 2168578"/>
                <a:gd name="connsiteY44" fmla="*/ 1455640 h 3285258"/>
                <a:gd name="connsiteX45" fmla="*/ 8600 w 2168578"/>
                <a:gd name="connsiteY45" fmla="*/ 3285259 h 3285258"/>
                <a:gd name="connsiteX46" fmla="*/ 837 w 2168578"/>
                <a:gd name="connsiteY46" fmla="*/ 3280654 h 3285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68578" h="3285258">
                  <a:moveTo>
                    <a:pt x="837" y="3280654"/>
                  </a:moveTo>
                  <a:cubicBezTo>
                    <a:pt x="-2147" y="2841903"/>
                    <a:pt x="3478" y="939708"/>
                    <a:pt x="7833" y="915350"/>
                  </a:cubicBezTo>
                  <a:cubicBezTo>
                    <a:pt x="11153" y="896778"/>
                    <a:pt x="15385" y="869149"/>
                    <a:pt x="17238" y="853954"/>
                  </a:cubicBezTo>
                  <a:cubicBezTo>
                    <a:pt x="19090" y="838758"/>
                    <a:pt x="22824" y="823562"/>
                    <a:pt x="25537" y="820185"/>
                  </a:cubicBezTo>
                  <a:cubicBezTo>
                    <a:pt x="28249" y="816809"/>
                    <a:pt x="32400" y="802994"/>
                    <a:pt x="34763" y="789487"/>
                  </a:cubicBezTo>
                  <a:cubicBezTo>
                    <a:pt x="39512" y="762329"/>
                    <a:pt x="67297" y="676356"/>
                    <a:pt x="74447" y="666694"/>
                  </a:cubicBezTo>
                  <a:cubicBezTo>
                    <a:pt x="76946" y="663317"/>
                    <a:pt x="80806" y="652956"/>
                    <a:pt x="83025" y="643670"/>
                  </a:cubicBezTo>
                  <a:cubicBezTo>
                    <a:pt x="85242" y="634384"/>
                    <a:pt x="89768" y="626786"/>
                    <a:pt x="93080" y="626786"/>
                  </a:cubicBezTo>
                  <a:cubicBezTo>
                    <a:pt x="96393" y="626786"/>
                    <a:pt x="99103" y="621063"/>
                    <a:pt x="99103" y="614068"/>
                  </a:cubicBezTo>
                  <a:cubicBezTo>
                    <a:pt x="99103" y="607073"/>
                    <a:pt x="103247" y="597206"/>
                    <a:pt x="108312" y="592141"/>
                  </a:cubicBezTo>
                  <a:cubicBezTo>
                    <a:pt x="113377" y="587076"/>
                    <a:pt x="117522" y="577603"/>
                    <a:pt x="117522" y="571091"/>
                  </a:cubicBezTo>
                  <a:cubicBezTo>
                    <a:pt x="117522" y="564578"/>
                    <a:pt x="120099" y="559250"/>
                    <a:pt x="123248" y="559250"/>
                  </a:cubicBezTo>
                  <a:cubicBezTo>
                    <a:pt x="126397" y="559250"/>
                    <a:pt x="130935" y="553070"/>
                    <a:pt x="133333" y="545516"/>
                  </a:cubicBezTo>
                  <a:cubicBezTo>
                    <a:pt x="138345" y="529724"/>
                    <a:pt x="167459" y="483504"/>
                    <a:pt x="174314" y="480458"/>
                  </a:cubicBezTo>
                  <a:cubicBezTo>
                    <a:pt x="176846" y="479332"/>
                    <a:pt x="178919" y="475731"/>
                    <a:pt x="178919" y="472456"/>
                  </a:cubicBezTo>
                  <a:cubicBezTo>
                    <a:pt x="178919" y="458327"/>
                    <a:pt x="250284" y="371973"/>
                    <a:pt x="317979" y="304189"/>
                  </a:cubicBezTo>
                  <a:cubicBezTo>
                    <a:pt x="385431" y="236650"/>
                    <a:pt x="477371" y="164189"/>
                    <a:pt x="533599" y="134256"/>
                  </a:cubicBezTo>
                  <a:cubicBezTo>
                    <a:pt x="620291" y="88104"/>
                    <a:pt x="689642" y="55798"/>
                    <a:pt x="702024" y="55798"/>
                  </a:cubicBezTo>
                  <a:cubicBezTo>
                    <a:pt x="706748" y="55798"/>
                    <a:pt x="713238" y="53314"/>
                    <a:pt x="716446" y="50279"/>
                  </a:cubicBezTo>
                  <a:cubicBezTo>
                    <a:pt x="725724" y="41501"/>
                    <a:pt x="809616" y="18678"/>
                    <a:pt x="866561" y="9441"/>
                  </a:cubicBezTo>
                  <a:cubicBezTo>
                    <a:pt x="969735" y="-7294"/>
                    <a:pt x="1308670" y="-414"/>
                    <a:pt x="1354663" y="19350"/>
                  </a:cubicBezTo>
                  <a:cubicBezTo>
                    <a:pt x="1361417" y="22252"/>
                    <a:pt x="1383520" y="29183"/>
                    <a:pt x="1403781" y="34752"/>
                  </a:cubicBezTo>
                  <a:cubicBezTo>
                    <a:pt x="1424042" y="40321"/>
                    <a:pt x="1443243" y="47335"/>
                    <a:pt x="1446451" y="50338"/>
                  </a:cubicBezTo>
                  <a:cubicBezTo>
                    <a:pt x="1449660" y="53341"/>
                    <a:pt x="1457522" y="55798"/>
                    <a:pt x="1463923" y="55798"/>
                  </a:cubicBezTo>
                  <a:cubicBezTo>
                    <a:pt x="1470325" y="55798"/>
                    <a:pt x="1482896" y="59583"/>
                    <a:pt x="1491859" y="64209"/>
                  </a:cubicBezTo>
                  <a:cubicBezTo>
                    <a:pt x="1500822" y="68835"/>
                    <a:pt x="1535330" y="86103"/>
                    <a:pt x="1568544" y="102582"/>
                  </a:cubicBezTo>
                  <a:cubicBezTo>
                    <a:pt x="1653310" y="144639"/>
                    <a:pt x="1652437" y="144152"/>
                    <a:pt x="1652437" y="149349"/>
                  </a:cubicBezTo>
                  <a:cubicBezTo>
                    <a:pt x="1652437" y="151925"/>
                    <a:pt x="1655119" y="154032"/>
                    <a:pt x="1658398" y="154032"/>
                  </a:cubicBezTo>
                  <a:cubicBezTo>
                    <a:pt x="1663758" y="154032"/>
                    <a:pt x="1718576" y="189056"/>
                    <a:pt x="1726113" y="197296"/>
                  </a:cubicBezTo>
                  <a:cubicBezTo>
                    <a:pt x="1727801" y="199142"/>
                    <a:pt x="1745760" y="213362"/>
                    <a:pt x="1766021" y="228896"/>
                  </a:cubicBezTo>
                  <a:cubicBezTo>
                    <a:pt x="1799229" y="254356"/>
                    <a:pt x="1905633" y="360089"/>
                    <a:pt x="1928722" y="390571"/>
                  </a:cubicBezTo>
                  <a:cubicBezTo>
                    <a:pt x="1933787" y="397258"/>
                    <a:pt x="1946911" y="414169"/>
                    <a:pt x="1957885" y="428151"/>
                  </a:cubicBezTo>
                  <a:cubicBezTo>
                    <a:pt x="1968860" y="442133"/>
                    <a:pt x="1977839" y="456399"/>
                    <a:pt x="1977839" y="459852"/>
                  </a:cubicBezTo>
                  <a:cubicBezTo>
                    <a:pt x="1977839" y="463306"/>
                    <a:pt x="1979961" y="467053"/>
                    <a:pt x="1982555" y="468178"/>
                  </a:cubicBezTo>
                  <a:cubicBezTo>
                    <a:pt x="1989318" y="471113"/>
                    <a:pt x="2026957" y="531420"/>
                    <a:pt x="2026957" y="539322"/>
                  </a:cubicBezTo>
                  <a:cubicBezTo>
                    <a:pt x="2026957" y="542966"/>
                    <a:pt x="2029215" y="546868"/>
                    <a:pt x="2031976" y="547994"/>
                  </a:cubicBezTo>
                  <a:cubicBezTo>
                    <a:pt x="2034736" y="549119"/>
                    <a:pt x="2045977" y="569380"/>
                    <a:pt x="2056956" y="593018"/>
                  </a:cubicBezTo>
                  <a:cubicBezTo>
                    <a:pt x="2067935" y="616656"/>
                    <a:pt x="2079491" y="640793"/>
                    <a:pt x="2082636" y="646657"/>
                  </a:cubicBezTo>
                  <a:cubicBezTo>
                    <a:pt x="2085780" y="652520"/>
                    <a:pt x="2088353" y="661500"/>
                    <a:pt x="2088353" y="666611"/>
                  </a:cubicBezTo>
                  <a:cubicBezTo>
                    <a:pt x="2088353" y="671722"/>
                    <a:pt x="2090808" y="675903"/>
                    <a:pt x="2093809" y="675903"/>
                  </a:cubicBezTo>
                  <a:cubicBezTo>
                    <a:pt x="2096811" y="675903"/>
                    <a:pt x="2101144" y="685914"/>
                    <a:pt x="2103439" y="698148"/>
                  </a:cubicBezTo>
                  <a:cubicBezTo>
                    <a:pt x="2105734" y="710383"/>
                    <a:pt x="2110164" y="724888"/>
                    <a:pt x="2113282" y="730381"/>
                  </a:cubicBezTo>
                  <a:cubicBezTo>
                    <a:pt x="2135788" y="770029"/>
                    <a:pt x="2161492" y="921119"/>
                    <a:pt x="2165641" y="1038143"/>
                  </a:cubicBezTo>
                  <a:lnTo>
                    <a:pt x="2168579" y="1121029"/>
                  </a:lnTo>
                  <a:lnTo>
                    <a:pt x="1835982" y="1455640"/>
                  </a:lnTo>
                  <a:cubicBezTo>
                    <a:pt x="443875" y="2856179"/>
                    <a:pt x="15320" y="3285259"/>
                    <a:pt x="8600" y="3285259"/>
                  </a:cubicBezTo>
                  <a:cubicBezTo>
                    <a:pt x="4347" y="3285259"/>
                    <a:pt x="854" y="3283187"/>
                    <a:pt x="837" y="3280654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53CD0A7-4950-4133-8A0A-BEDC5815414C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551942" y="443530"/>
            <a:ext cx="2706859" cy="122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510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909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Rectangle 7">
            <a:extLst>
              <a:ext uri="{FF2B5EF4-FFF2-40B4-BE49-F238E27FC236}">
                <a16:creationId xmlns:a16="http://schemas.microsoft.com/office/drawing/2014/main" id="{D4468DF6-5EFF-493C-83CF-A7D69643D5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3176" y="0"/>
            <a:ext cx="12188824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3792C023-06C8-4A16-BBB2-DAE611A41AB7}"/>
              </a:ext>
            </a:extLst>
          </p:cNvPr>
          <p:cNvSpPr/>
          <p:nvPr/>
        </p:nvSpPr>
        <p:spPr>
          <a:xfrm>
            <a:off x="5522684" y="358775"/>
            <a:ext cx="155042" cy="6140450"/>
          </a:xfrm>
          <a:prstGeom prst="rect">
            <a:avLst/>
          </a:prstGeom>
          <a:solidFill>
            <a:schemeClr val="accent5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F57D5E4-EF63-4B58-A2AA-591EA01EF054}"/>
              </a:ext>
            </a:extLst>
          </p:cNvPr>
          <p:cNvSpPr/>
          <p:nvPr/>
        </p:nvSpPr>
        <p:spPr bwMode="ltGray">
          <a:xfrm>
            <a:off x="210457" y="358775"/>
            <a:ext cx="5390243" cy="6140450"/>
          </a:xfrm>
          <a:prstGeom prst="rect">
            <a:avLst/>
          </a:prstGeom>
          <a:solidFill>
            <a:schemeClr val="accent1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9CD4B3-1E2D-4DB8-8FDC-55BC1D553907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243" y="751409"/>
            <a:ext cx="2005015" cy="9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6680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0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9C9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4" name="Picture 577">
            <a:extLst>
              <a:ext uri="{FF2B5EF4-FFF2-40B4-BE49-F238E27FC236}">
                <a16:creationId xmlns:a16="http://schemas.microsoft.com/office/drawing/2014/main" id="{0355C810-0E7D-404A-AB9D-745F75A586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14559" y="431058"/>
            <a:ext cx="2638502" cy="119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2D0323-DDFD-4C1E-88D5-33B89558B9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ocumenttype">
            <a:extLst>
              <a:ext uri="{FF2B5EF4-FFF2-40B4-BE49-F238E27FC236}">
                <a16:creationId xmlns:a16="http://schemas.microsoft.com/office/drawing/2014/main" id="{1A249EF7-8253-4FF9-882D-FA9C8406144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F29D07E-6282-4B46-8400-5CD989519589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B8634863-663E-45C0-B822-1793C399D8F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18747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19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Rectangle 1">
            <a:extLst>
              <a:ext uri="{FF2B5EF4-FFF2-40B4-BE49-F238E27FC236}">
                <a16:creationId xmlns:a16="http://schemas.microsoft.com/office/drawing/2014/main" id="{883382E9-97AC-47AE-8B9A-5273AB81C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528BC99-CC74-421D-8D22-FC636E9D330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4560" y="431058"/>
            <a:ext cx="2606896" cy="118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4324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5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err="1"/>
              <a:t>Sumber</a:t>
            </a:r>
            <a:r>
              <a:rPr lang="en-US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263847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29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65992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19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Rectangle 1">
            <a:extLst>
              <a:ext uri="{FF2B5EF4-FFF2-40B4-BE49-F238E27FC236}">
                <a16:creationId xmlns:a16="http://schemas.microsoft.com/office/drawing/2014/main" id="{883382E9-97AC-47AE-8B9A-5273AB81C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528BC99-CC74-421D-8D22-FC636E9D330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4560" y="431058"/>
            <a:ext cx="2606896" cy="118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4967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08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809695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397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1578535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59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425842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9638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1F3D1A44-C4DE-4309-9CD1-EAC714DD93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68240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00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BF1AF695-4F9A-4CE6-943D-9DEF155CB6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80771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90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3" name="Picture 577">
            <a:extLst>
              <a:ext uri="{FF2B5EF4-FFF2-40B4-BE49-F238E27FC236}">
                <a16:creationId xmlns:a16="http://schemas.microsoft.com/office/drawing/2014/main" id="{B9830461-AA98-4F8E-8046-CE3DAE7EB9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6219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50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>
                <a:solidFill>
                  <a:schemeClr val="tx1"/>
                </a:solidFill>
              </a:rPr>
              <a:t>Sumber</a:t>
            </a:r>
            <a:r>
              <a:rPr lang="en-US" sz="800">
                <a:solidFill>
                  <a:schemeClr val="tx1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CC95F7CE-8CC0-48E2-A463-44EACD9C14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1647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281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umb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4B4EAE61-BF75-4CF2-AEBB-3160B71C81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0033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67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577">
            <a:extLst>
              <a:ext uri="{FF2B5EF4-FFF2-40B4-BE49-F238E27FC236}">
                <a16:creationId xmlns:a16="http://schemas.microsoft.com/office/drawing/2014/main" id="{3AED4D0D-E5E6-49D3-9994-37CFCE8DB3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93417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01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Picture 577">
            <a:extLst>
              <a:ext uri="{FF2B5EF4-FFF2-40B4-BE49-F238E27FC236}">
                <a16:creationId xmlns:a16="http://schemas.microsoft.com/office/drawing/2014/main" id="{822DD78D-5066-4160-93CD-8DB2680DA2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1046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5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err="1"/>
              <a:t>Sumber</a:t>
            </a:r>
            <a:r>
              <a:rPr lang="en-US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6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pic>
        <p:nvPicPr>
          <p:cNvPr id="6" name="Picture 577">
            <a:extLst>
              <a:ext uri="{FF2B5EF4-FFF2-40B4-BE49-F238E27FC236}">
                <a16:creationId xmlns:a16="http://schemas.microsoft.com/office/drawing/2014/main" id="{423201DB-9CC9-4745-91E6-B00E72B4E7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384" y="2818435"/>
            <a:ext cx="2697234" cy="1221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71323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01259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mb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1016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309320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87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671721-CFBE-4EA2-A0E0-C95CB809CC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075076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8703CC6-8477-444D-9E15-F448F8EB1FAC}"/>
              </a:ext>
            </a:extLst>
          </p:cNvPr>
          <p:cNvSpPr/>
          <p:nvPr userDrawn="1"/>
        </p:nvSpPr>
        <p:spPr>
          <a:xfrm>
            <a:off x="6083449" y="-11876"/>
            <a:ext cx="6126480" cy="69037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F515D2-F143-0544-9BEE-56F67B4817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769" y="169857"/>
            <a:ext cx="5669280" cy="391013"/>
          </a:xfrm>
          <a:prstGeom prst="rect">
            <a:avLst/>
          </a:prstGeom>
        </p:spPr>
        <p:txBody>
          <a:bodyPr/>
          <a:lstStyle>
            <a:lvl1pPr algn="l">
              <a:defRPr sz="2500"/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57CB45-B150-0948-ACCF-D2859B6A04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9776" y="6189786"/>
            <a:ext cx="1282299" cy="5802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CBA591-F270-EB46-BF3B-3D5037F456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8139" y="6286012"/>
            <a:ext cx="2743200" cy="365125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9C099C12-0FA6-5345-B979-B19A08F582E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BA3406F-ECEC-884B-9E2C-1B2EB48E65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358" y="598743"/>
            <a:ext cx="5669280" cy="3275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007E78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B12D97C5-956F-7E4F-B4FD-65DC6EFE12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396" y="6414165"/>
            <a:ext cx="4279900" cy="21926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10672729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96CF8C-1EA0-4E47-AC60-CAC3B80A3C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672" y="1335024"/>
            <a:ext cx="6190488" cy="1179576"/>
          </a:xfrm>
        </p:spPr>
        <p:txBody>
          <a:bodyPr lIns="91440" tIns="45720" rIns="91440" bIns="45720" anchor="b"/>
          <a:lstStyle>
            <a:lvl1pPr>
              <a:defRPr sz="40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40F15D-DD72-46D5-BF0F-F50647107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64424" y="62179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8CABF8-19D8-4F3C-994F-4D35EC7A2C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50392" y="2825496"/>
            <a:ext cx="6190488" cy="3346704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2000"/>
            </a:lvl1pPr>
            <a:lvl2pPr marL="228600">
              <a:defRPr sz="1800"/>
            </a:lvl2pPr>
            <a:lvl3pPr marL="457200">
              <a:defRPr sz="1600"/>
            </a:lvl3pPr>
            <a:lvl4pPr marL="68580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62FC6D8-DD87-4B93-8491-43C84EE63FE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51965" y="1665520"/>
            <a:ext cx="4266960" cy="4266968"/>
          </a:xfrm>
          <a:custGeom>
            <a:avLst/>
            <a:gdLst>
              <a:gd name="connsiteX0" fmla="*/ 2133823 w 4266960"/>
              <a:gd name="connsiteY0" fmla="*/ 0 h 4266968"/>
              <a:gd name="connsiteX1" fmla="*/ 4256628 w 4266960"/>
              <a:gd name="connsiteY1" fmla="*/ 1915652 h 4266968"/>
              <a:gd name="connsiteX2" fmla="*/ 4266960 w 4266960"/>
              <a:gd name="connsiteY2" fmla="*/ 2120258 h 4266968"/>
              <a:gd name="connsiteX3" fmla="*/ 4266960 w 4266960"/>
              <a:gd name="connsiteY3" fmla="*/ 2147389 h 4266968"/>
              <a:gd name="connsiteX4" fmla="*/ 4256628 w 4266960"/>
              <a:gd name="connsiteY4" fmla="*/ 2351994 h 4266968"/>
              <a:gd name="connsiteX5" fmla="*/ 2351994 w 4266960"/>
              <a:gd name="connsiteY5" fmla="*/ 4256629 h 4266968"/>
              <a:gd name="connsiteX6" fmla="*/ 2147230 w 4266960"/>
              <a:gd name="connsiteY6" fmla="*/ 4266968 h 4266968"/>
              <a:gd name="connsiteX7" fmla="*/ 2120416 w 4266960"/>
              <a:gd name="connsiteY7" fmla="*/ 4266968 h 4266968"/>
              <a:gd name="connsiteX8" fmla="*/ 1915652 w 4266960"/>
              <a:gd name="connsiteY8" fmla="*/ 4256629 h 4266968"/>
              <a:gd name="connsiteX9" fmla="*/ 0 w 4266960"/>
              <a:gd name="connsiteY9" fmla="*/ 2133823 h 4266968"/>
              <a:gd name="connsiteX10" fmla="*/ 2133823 w 4266960"/>
              <a:gd name="connsiteY10" fmla="*/ 0 h 426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66960" h="4266968">
                <a:moveTo>
                  <a:pt x="2133823" y="0"/>
                </a:moveTo>
                <a:cubicBezTo>
                  <a:pt x="3238644" y="0"/>
                  <a:pt x="4147355" y="839660"/>
                  <a:pt x="4256628" y="1915652"/>
                </a:cubicBezTo>
                <a:lnTo>
                  <a:pt x="4266960" y="2120258"/>
                </a:lnTo>
                <a:lnTo>
                  <a:pt x="4266960" y="2147389"/>
                </a:lnTo>
                <a:lnTo>
                  <a:pt x="4256628" y="2351994"/>
                </a:lnTo>
                <a:cubicBezTo>
                  <a:pt x="4154640" y="3356254"/>
                  <a:pt x="3356253" y="4154640"/>
                  <a:pt x="2351994" y="4256629"/>
                </a:cubicBezTo>
                <a:lnTo>
                  <a:pt x="2147230" y="4266968"/>
                </a:lnTo>
                <a:lnTo>
                  <a:pt x="2120416" y="4266968"/>
                </a:lnTo>
                <a:lnTo>
                  <a:pt x="1915652" y="4256629"/>
                </a:lnTo>
                <a:cubicBezTo>
                  <a:pt x="839660" y="4147356"/>
                  <a:pt x="0" y="3238645"/>
                  <a:pt x="0" y="2133823"/>
                </a:cubicBezTo>
                <a:cubicBezTo>
                  <a:pt x="0" y="955346"/>
                  <a:pt x="955346" y="0"/>
                  <a:pt x="2133823" y="0"/>
                </a:cubicBezTo>
                <a:close/>
              </a:path>
            </a:pathLst>
          </a:custGeom>
        </p:spPr>
        <p:txBody>
          <a:bodyPr wrap="square" tIns="914400" anchor="t" anchorCtr="0">
            <a:noAutofit/>
          </a:bodyPr>
          <a:lstStyle>
            <a:lvl1pPr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66FD4D-815A-431C-ADEF-DE6F236F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A8B3D0E-ED3F-46FA-AE79-5FEFDE916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806470"/>
            <a:ext cx="7903723" cy="0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08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Graphic 10">
            <a:extLst>
              <a:ext uri="{FF2B5EF4-FFF2-40B4-BE49-F238E27FC236}">
                <a16:creationId xmlns:a16="http://schemas.microsoft.com/office/drawing/2014/main" id="{AAD06B87-D9B2-4F94-B734-A8F039A203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281590" y="2070656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2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BB13A13C-36EA-4B13-9175-C5FE95B34D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969280" y="1780012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accent2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7732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119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9C9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760F18C-4F47-48F9-976D-8AFC442270C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4" name="Picture 577">
            <a:extLst>
              <a:ext uri="{FF2B5EF4-FFF2-40B4-BE49-F238E27FC236}">
                <a16:creationId xmlns:a16="http://schemas.microsoft.com/office/drawing/2014/main" id="{0355C810-0E7D-404A-AB9D-745F75A586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14559" y="431058"/>
            <a:ext cx="2638502" cy="119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Documenttype">
            <a:extLst>
              <a:ext uri="{FF2B5EF4-FFF2-40B4-BE49-F238E27FC236}">
                <a16:creationId xmlns:a16="http://schemas.microsoft.com/office/drawing/2014/main" id="{4202F850-7676-42BC-BB11-EE2C86D5DC1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1B000492-7DCA-4D81-AB60-AF471CD07CC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683D8B4D-213E-49A1-898C-82F6C79029D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887724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42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ED643B1-662F-4C4B-BDB0-DD9B33B41F7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781C1EA-EFAA-4B34-942A-E2180417B072}"/>
              </a:ext>
            </a:extLst>
          </p:cNvPr>
          <p:cNvGrpSpPr/>
          <p:nvPr userDrawn="1"/>
        </p:nvGrpSpPr>
        <p:grpSpPr bwMode="ltGray">
          <a:xfrm>
            <a:off x="5920935" y="25805"/>
            <a:ext cx="6271065" cy="6806391"/>
            <a:chOff x="5920935" y="25805"/>
            <a:chExt cx="6271065" cy="6806391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1163D05-4CF6-4DDE-B4A7-43214FB120EB}"/>
                </a:ext>
              </a:extLst>
            </p:cNvPr>
            <p:cNvGrpSpPr/>
            <p:nvPr/>
          </p:nvGrpSpPr>
          <p:grpSpPr bwMode="ltGray">
            <a:xfrm>
              <a:off x="5920935" y="25806"/>
              <a:ext cx="6271065" cy="6806390"/>
              <a:chOff x="-7837089" y="-634999"/>
              <a:chExt cx="6271065" cy="680639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EB0D0E86-378C-4238-A2FC-B498B35BCBE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4682" y="-634999"/>
                <a:ext cx="2152513" cy="3260921"/>
              </a:xfrm>
              <a:custGeom>
                <a:avLst/>
                <a:gdLst>
                  <a:gd name="connsiteX0" fmla="*/ 1046402 w 2152513"/>
                  <a:gd name="connsiteY0" fmla="*/ 11 h 3260921"/>
                  <a:gd name="connsiteX1" fmla="*/ 1344627 w 2152513"/>
                  <a:gd name="connsiteY1" fmla="*/ 19207 h 3260921"/>
                  <a:gd name="connsiteX2" fmla="*/ 1393381 w 2152513"/>
                  <a:gd name="connsiteY2" fmla="*/ 34495 h 3260921"/>
                  <a:gd name="connsiteX3" fmla="*/ 1435735 w 2152513"/>
                  <a:gd name="connsiteY3" fmla="*/ 49965 h 3260921"/>
                  <a:gd name="connsiteX4" fmla="*/ 1453078 w 2152513"/>
                  <a:gd name="connsiteY4" fmla="*/ 55385 h 3260921"/>
                  <a:gd name="connsiteX5" fmla="*/ 1480807 w 2152513"/>
                  <a:gd name="connsiteY5" fmla="*/ 63733 h 3260921"/>
                  <a:gd name="connsiteX6" fmla="*/ 1556924 w 2152513"/>
                  <a:gd name="connsiteY6" fmla="*/ 101822 h 3260921"/>
                  <a:gd name="connsiteX7" fmla="*/ 1640195 w 2152513"/>
                  <a:gd name="connsiteY7" fmla="*/ 148243 h 3260921"/>
                  <a:gd name="connsiteX8" fmla="*/ 1646112 w 2152513"/>
                  <a:gd name="connsiteY8" fmla="*/ 152891 h 3260921"/>
                  <a:gd name="connsiteX9" fmla="*/ 1713325 w 2152513"/>
                  <a:gd name="connsiteY9" fmla="*/ 195835 h 3260921"/>
                  <a:gd name="connsiteX10" fmla="*/ 1752938 w 2152513"/>
                  <a:gd name="connsiteY10" fmla="*/ 227200 h 3260921"/>
                  <a:gd name="connsiteX11" fmla="*/ 1914433 w 2152513"/>
                  <a:gd name="connsiteY11" fmla="*/ 387678 h 3260921"/>
                  <a:gd name="connsiteX12" fmla="*/ 1943380 w 2152513"/>
                  <a:gd name="connsiteY12" fmla="*/ 424979 h 3260921"/>
                  <a:gd name="connsiteX13" fmla="*/ 1963186 w 2152513"/>
                  <a:gd name="connsiteY13" fmla="*/ 456445 h 3260921"/>
                  <a:gd name="connsiteX14" fmla="*/ 1967867 w 2152513"/>
                  <a:gd name="connsiteY14" fmla="*/ 464710 h 3260921"/>
                  <a:gd name="connsiteX15" fmla="*/ 2011940 w 2152513"/>
                  <a:gd name="connsiteY15" fmla="*/ 535327 h 3260921"/>
                  <a:gd name="connsiteX16" fmla="*/ 2016922 w 2152513"/>
                  <a:gd name="connsiteY16" fmla="*/ 543934 h 3260921"/>
                  <a:gd name="connsiteX17" fmla="*/ 2041717 w 2152513"/>
                  <a:gd name="connsiteY17" fmla="*/ 588625 h 3260921"/>
                  <a:gd name="connsiteX18" fmla="*/ 2067207 w 2152513"/>
                  <a:gd name="connsiteY18" fmla="*/ 641866 h 3260921"/>
                  <a:gd name="connsiteX19" fmla="*/ 2072882 w 2152513"/>
                  <a:gd name="connsiteY19" fmla="*/ 661673 h 3260921"/>
                  <a:gd name="connsiteX20" fmla="*/ 2078297 w 2152513"/>
                  <a:gd name="connsiteY20" fmla="*/ 670896 h 3260921"/>
                  <a:gd name="connsiteX21" fmla="*/ 2087856 w 2152513"/>
                  <a:gd name="connsiteY21" fmla="*/ 692976 h 3260921"/>
                  <a:gd name="connsiteX22" fmla="*/ 2097626 w 2152513"/>
                  <a:gd name="connsiteY22" fmla="*/ 724970 h 3260921"/>
                  <a:gd name="connsiteX23" fmla="*/ 2149597 w 2152513"/>
                  <a:gd name="connsiteY23" fmla="*/ 1030452 h 3260921"/>
                  <a:gd name="connsiteX24" fmla="*/ 2152513 w 2152513"/>
                  <a:gd name="connsiteY24" fmla="*/ 1112724 h 3260921"/>
                  <a:gd name="connsiteX25" fmla="*/ 1822380 w 2152513"/>
                  <a:gd name="connsiteY25" fmla="*/ 1444856 h 3260921"/>
                  <a:gd name="connsiteX26" fmla="*/ 8537 w 2152513"/>
                  <a:gd name="connsiteY26" fmla="*/ 3260921 h 3260921"/>
                  <a:gd name="connsiteX27" fmla="*/ 831 w 2152513"/>
                  <a:gd name="connsiteY27" fmla="*/ 3256350 h 3260921"/>
                  <a:gd name="connsiteX28" fmla="*/ 7775 w 2152513"/>
                  <a:gd name="connsiteY28" fmla="*/ 908569 h 3260921"/>
                  <a:gd name="connsiteX29" fmla="*/ 17111 w 2152513"/>
                  <a:gd name="connsiteY29" fmla="*/ 847628 h 3260921"/>
                  <a:gd name="connsiteX30" fmla="*/ 25348 w 2152513"/>
                  <a:gd name="connsiteY30" fmla="*/ 814109 h 3260921"/>
                  <a:gd name="connsiteX31" fmla="*/ 34506 w 2152513"/>
                  <a:gd name="connsiteY31" fmla="*/ 783638 h 3260921"/>
                  <a:gd name="connsiteX32" fmla="*/ 73896 w 2152513"/>
                  <a:gd name="connsiteY32" fmla="*/ 661755 h 3260921"/>
                  <a:gd name="connsiteX33" fmla="*/ 82410 w 2152513"/>
                  <a:gd name="connsiteY33" fmla="*/ 638902 h 3260921"/>
                  <a:gd name="connsiteX34" fmla="*/ 92391 w 2152513"/>
                  <a:gd name="connsiteY34" fmla="*/ 622143 h 3260921"/>
                  <a:gd name="connsiteX35" fmla="*/ 98369 w 2152513"/>
                  <a:gd name="connsiteY35" fmla="*/ 609519 h 3260921"/>
                  <a:gd name="connsiteX36" fmla="*/ 107510 w 2152513"/>
                  <a:gd name="connsiteY36" fmla="*/ 587754 h 3260921"/>
                  <a:gd name="connsiteX37" fmla="*/ 116652 w 2152513"/>
                  <a:gd name="connsiteY37" fmla="*/ 566860 h 3260921"/>
                  <a:gd name="connsiteX38" fmla="*/ 122335 w 2152513"/>
                  <a:gd name="connsiteY38" fmla="*/ 555107 h 3260921"/>
                  <a:gd name="connsiteX39" fmla="*/ 132345 w 2152513"/>
                  <a:gd name="connsiteY39" fmla="*/ 541475 h 3260921"/>
                  <a:gd name="connsiteX40" fmla="*/ 173023 w 2152513"/>
                  <a:gd name="connsiteY40" fmla="*/ 476899 h 3260921"/>
                  <a:gd name="connsiteX41" fmla="*/ 177594 w 2152513"/>
                  <a:gd name="connsiteY41" fmla="*/ 468956 h 3260921"/>
                  <a:gd name="connsiteX42" fmla="*/ 315623 w 2152513"/>
                  <a:gd name="connsiteY42" fmla="*/ 301936 h 3260921"/>
                  <a:gd name="connsiteX43" fmla="*/ 529646 w 2152513"/>
                  <a:gd name="connsiteY43" fmla="*/ 133262 h 3260921"/>
                  <a:gd name="connsiteX44" fmla="*/ 696823 w 2152513"/>
                  <a:gd name="connsiteY44" fmla="*/ 55385 h 3260921"/>
                  <a:gd name="connsiteX45" fmla="*/ 711138 w 2152513"/>
                  <a:gd name="connsiteY45" fmla="*/ 49907 h 3260921"/>
                  <a:gd name="connsiteX46" fmla="*/ 860141 w 2152513"/>
                  <a:gd name="connsiteY46" fmla="*/ 9371 h 3260921"/>
                  <a:gd name="connsiteX47" fmla="*/ 1046402 w 2152513"/>
                  <a:gd name="connsiteY47" fmla="*/ 11 h 3260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152513" h="3260921">
                    <a:moveTo>
                      <a:pt x="1046402" y="11"/>
                    </a:moveTo>
                    <a:cubicBezTo>
                      <a:pt x="1173979" y="-320"/>
                      <a:pt x="1316094" y="6946"/>
                      <a:pt x="1344627" y="19207"/>
                    </a:cubicBezTo>
                    <a:cubicBezTo>
                      <a:pt x="1351331" y="22087"/>
                      <a:pt x="1373270" y="28967"/>
                      <a:pt x="1393381" y="34495"/>
                    </a:cubicBezTo>
                    <a:cubicBezTo>
                      <a:pt x="1413492" y="40022"/>
                      <a:pt x="1432551" y="46984"/>
                      <a:pt x="1435735" y="49965"/>
                    </a:cubicBezTo>
                    <a:cubicBezTo>
                      <a:pt x="1438920" y="52946"/>
                      <a:pt x="1446724" y="55385"/>
                      <a:pt x="1453078" y="55385"/>
                    </a:cubicBezTo>
                    <a:cubicBezTo>
                      <a:pt x="1459432" y="55385"/>
                      <a:pt x="1471910" y="59142"/>
                      <a:pt x="1480807" y="63733"/>
                    </a:cubicBezTo>
                    <a:cubicBezTo>
                      <a:pt x="1489703" y="68325"/>
                      <a:pt x="1523956" y="85465"/>
                      <a:pt x="1556924" y="101822"/>
                    </a:cubicBezTo>
                    <a:cubicBezTo>
                      <a:pt x="1641062" y="143568"/>
                      <a:pt x="1640195" y="143084"/>
                      <a:pt x="1640195" y="148243"/>
                    </a:cubicBezTo>
                    <a:cubicBezTo>
                      <a:pt x="1640195" y="150800"/>
                      <a:pt x="1642857" y="152891"/>
                      <a:pt x="1646112" y="152891"/>
                    </a:cubicBezTo>
                    <a:cubicBezTo>
                      <a:pt x="1651432" y="152891"/>
                      <a:pt x="1705844" y="187656"/>
                      <a:pt x="1713325" y="195835"/>
                    </a:cubicBezTo>
                    <a:cubicBezTo>
                      <a:pt x="1715001" y="197667"/>
                      <a:pt x="1732827" y="211781"/>
                      <a:pt x="1752938" y="227200"/>
                    </a:cubicBezTo>
                    <a:cubicBezTo>
                      <a:pt x="1785900" y="252472"/>
                      <a:pt x="1891515" y="357421"/>
                      <a:pt x="1914433" y="387678"/>
                    </a:cubicBezTo>
                    <a:cubicBezTo>
                      <a:pt x="1919461" y="394315"/>
                      <a:pt x="1932487" y="411101"/>
                      <a:pt x="1943380" y="424979"/>
                    </a:cubicBezTo>
                    <a:cubicBezTo>
                      <a:pt x="1954274" y="438858"/>
                      <a:pt x="1963186" y="453018"/>
                      <a:pt x="1963186" y="456445"/>
                    </a:cubicBezTo>
                    <a:cubicBezTo>
                      <a:pt x="1963186" y="459874"/>
                      <a:pt x="1965293" y="463593"/>
                      <a:pt x="1967867" y="464710"/>
                    </a:cubicBezTo>
                    <a:cubicBezTo>
                      <a:pt x="1974580" y="467623"/>
                      <a:pt x="2011940" y="527483"/>
                      <a:pt x="2011940" y="535327"/>
                    </a:cubicBezTo>
                    <a:cubicBezTo>
                      <a:pt x="2011940" y="538944"/>
                      <a:pt x="2014182" y="542817"/>
                      <a:pt x="2016922" y="543934"/>
                    </a:cubicBezTo>
                    <a:cubicBezTo>
                      <a:pt x="2019662" y="545051"/>
                      <a:pt x="2030819" y="565162"/>
                      <a:pt x="2041717" y="588625"/>
                    </a:cubicBezTo>
                    <a:cubicBezTo>
                      <a:pt x="2052615" y="612088"/>
                      <a:pt x="2064085" y="636046"/>
                      <a:pt x="2067207" y="641866"/>
                    </a:cubicBezTo>
                    <a:cubicBezTo>
                      <a:pt x="2070328" y="647686"/>
                      <a:pt x="2072882" y="656600"/>
                      <a:pt x="2072882" y="661673"/>
                    </a:cubicBezTo>
                    <a:cubicBezTo>
                      <a:pt x="2072882" y="666746"/>
                      <a:pt x="2075318" y="670896"/>
                      <a:pt x="2078297" y="670896"/>
                    </a:cubicBezTo>
                    <a:cubicBezTo>
                      <a:pt x="2081277" y="670896"/>
                      <a:pt x="2085578" y="680833"/>
                      <a:pt x="2087856" y="692976"/>
                    </a:cubicBezTo>
                    <a:cubicBezTo>
                      <a:pt x="2090134" y="705120"/>
                      <a:pt x="2094531" y="719518"/>
                      <a:pt x="2097626" y="724970"/>
                    </a:cubicBezTo>
                    <a:cubicBezTo>
                      <a:pt x="2119965" y="764324"/>
                      <a:pt x="2145479" y="914295"/>
                      <a:pt x="2149597" y="1030452"/>
                    </a:cubicBezTo>
                    <a:lnTo>
                      <a:pt x="2152513" y="1112724"/>
                    </a:lnTo>
                    <a:lnTo>
                      <a:pt x="1822380" y="1444856"/>
                    </a:lnTo>
                    <a:cubicBezTo>
                      <a:pt x="440587" y="2835020"/>
                      <a:pt x="15207" y="3260921"/>
                      <a:pt x="8537" y="3260921"/>
                    </a:cubicBezTo>
                    <a:cubicBezTo>
                      <a:pt x="4315" y="3260921"/>
                      <a:pt x="848" y="3258864"/>
                      <a:pt x="831" y="3256350"/>
                    </a:cubicBezTo>
                    <a:cubicBezTo>
                      <a:pt x="-2131" y="2820850"/>
                      <a:pt x="3452" y="932747"/>
                      <a:pt x="7775" y="908569"/>
                    </a:cubicBezTo>
                    <a:cubicBezTo>
                      <a:pt x="11071" y="890135"/>
                      <a:pt x="15271" y="862710"/>
                      <a:pt x="17111" y="847628"/>
                    </a:cubicBezTo>
                    <a:cubicBezTo>
                      <a:pt x="18949" y="832544"/>
                      <a:pt x="22655" y="817461"/>
                      <a:pt x="25348" y="814109"/>
                    </a:cubicBezTo>
                    <a:cubicBezTo>
                      <a:pt x="28040" y="810758"/>
                      <a:pt x="32160" y="797045"/>
                      <a:pt x="34506" y="783638"/>
                    </a:cubicBezTo>
                    <a:cubicBezTo>
                      <a:pt x="39220" y="756682"/>
                      <a:pt x="66799" y="671345"/>
                      <a:pt x="73896" y="661755"/>
                    </a:cubicBezTo>
                    <a:cubicBezTo>
                      <a:pt x="76376" y="658403"/>
                      <a:pt x="80208" y="648119"/>
                      <a:pt x="82410" y="638902"/>
                    </a:cubicBezTo>
                    <a:cubicBezTo>
                      <a:pt x="84611" y="629684"/>
                      <a:pt x="89103" y="622143"/>
                      <a:pt x="92391" y="622143"/>
                    </a:cubicBezTo>
                    <a:cubicBezTo>
                      <a:pt x="95679" y="622143"/>
                      <a:pt x="98369" y="616462"/>
                      <a:pt x="98369" y="609519"/>
                    </a:cubicBezTo>
                    <a:cubicBezTo>
                      <a:pt x="98369" y="602576"/>
                      <a:pt x="102482" y="592782"/>
                      <a:pt x="107510" y="587754"/>
                    </a:cubicBezTo>
                    <a:cubicBezTo>
                      <a:pt x="112537" y="582727"/>
                      <a:pt x="116652" y="573324"/>
                      <a:pt x="116652" y="566860"/>
                    </a:cubicBezTo>
                    <a:cubicBezTo>
                      <a:pt x="116652" y="560396"/>
                      <a:pt x="119209" y="555107"/>
                      <a:pt x="122335" y="555107"/>
                    </a:cubicBezTo>
                    <a:cubicBezTo>
                      <a:pt x="125461" y="555107"/>
                      <a:pt x="129965" y="548973"/>
                      <a:pt x="132345" y="541475"/>
                    </a:cubicBezTo>
                    <a:cubicBezTo>
                      <a:pt x="137320" y="525800"/>
                      <a:pt x="166219" y="479922"/>
                      <a:pt x="173023" y="476899"/>
                    </a:cubicBezTo>
                    <a:cubicBezTo>
                      <a:pt x="175536" y="475781"/>
                      <a:pt x="177594" y="472207"/>
                      <a:pt x="177594" y="468956"/>
                    </a:cubicBezTo>
                    <a:cubicBezTo>
                      <a:pt x="177594" y="454932"/>
                      <a:pt x="248430" y="369217"/>
                      <a:pt x="315623" y="301936"/>
                    </a:cubicBezTo>
                    <a:cubicBezTo>
                      <a:pt x="382576" y="234897"/>
                      <a:pt x="473835" y="162973"/>
                      <a:pt x="529646" y="133262"/>
                    </a:cubicBezTo>
                    <a:cubicBezTo>
                      <a:pt x="615696" y="87451"/>
                      <a:pt x="684533" y="55385"/>
                      <a:pt x="696823" y="55385"/>
                    </a:cubicBezTo>
                    <a:cubicBezTo>
                      <a:pt x="701512" y="55385"/>
                      <a:pt x="707954" y="52919"/>
                      <a:pt x="711138" y="49907"/>
                    </a:cubicBezTo>
                    <a:cubicBezTo>
                      <a:pt x="720348" y="41194"/>
                      <a:pt x="803618" y="18540"/>
                      <a:pt x="860141" y="9371"/>
                    </a:cubicBezTo>
                    <a:cubicBezTo>
                      <a:pt x="898545" y="3142"/>
                      <a:pt x="969857" y="209"/>
                      <a:pt x="1046402" y="1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DC7B063B-97FA-4EA5-9D0F-094D258A90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64500"/>
                <a:ext cx="1712951" cy="2451369"/>
              </a:xfrm>
              <a:custGeom>
                <a:avLst/>
                <a:gdLst>
                  <a:gd name="connsiteX0" fmla="*/ 737602 w 1712951"/>
                  <a:gd name="connsiteY0" fmla="*/ 1 h 2451369"/>
                  <a:gd name="connsiteX1" fmla="*/ 917173 w 1712951"/>
                  <a:gd name="connsiteY1" fmla="*/ 11709 h 2451369"/>
                  <a:gd name="connsiteX2" fmla="*/ 984209 w 1712951"/>
                  <a:gd name="connsiteY2" fmla="*/ 28486 h 2451369"/>
                  <a:gd name="connsiteX3" fmla="*/ 1020774 w 1712951"/>
                  <a:gd name="connsiteY3" fmla="*/ 39222 h 2451369"/>
                  <a:gd name="connsiteX4" fmla="*/ 1048040 w 1712951"/>
                  <a:gd name="connsiteY4" fmla="*/ 47945 h 2451369"/>
                  <a:gd name="connsiteX5" fmla="*/ 1284311 w 1712951"/>
                  <a:gd name="connsiteY5" fmla="*/ 165647 h 2451369"/>
                  <a:gd name="connsiteX6" fmla="*/ 1465649 w 1712951"/>
                  <a:gd name="connsiteY6" fmla="*/ 323290 h 2451369"/>
                  <a:gd name="connsiteX7" fmla="*/ 1506657 w 1712951"/>
                  <a:gd name="connsiteY7" fmla="*/ 371266 h 2451369"/>
                  <a:gd name="connsiteX8" fmla="*/ 1532968 w 1712951"/>
                  <a:gd name="connsiteY8" fmla="*/ 406715 h 2451369"/>
                  <a:gd name="connsiteX9" fmla="*/ 1542237 w 1712951"/>
                  <a:gd name="connsiteY9" fmla="*/ 417379 h 2451369"/>
                  <a:gd name="connsiteX10" fmla="*/ 1547921 w 1712951"/>
                  <a:gd name="connsiteY10" fmla="*/ 422779 h 2451369"/>
                  <a:gd name="connsiteX11" fmla="*/ 1572297 w 1712951"/>
                  <a:gd name="connsiteY11" fmla="*/ 464683 h 2451369"/>
                  <a:gd name="connsiteX12" fmla="*/ 1596674 w 1712951"/>
                  <a:gd name="connsiteY12" fmla="*/ 508036 h 2451369"/>
                  <a:gd name="connsiteX13" fmla="*/ 1602768 w 1712951"/>
                  <a:gd name="connsiteY13" fmla="*/ 514886 h 2451369"/>
                  <a:gd name="connsiteX14" fmla="*/ 1608862 w 1712951"/>
                  <a:gd name="connsiteY14" fmla="*/ 520375 h 2451369"/>
                  <a:gd name="connsiteX15" fmla="*/ 1632325 w 1712951"/>
                  <a:gd name="connsiteY15" fmla="*/ 576746 h 2451369"/>
                  <a:gd name="connsiteX16" fmla="*/ 1666675 w 1712951"/>
                  <a:gd name="connsiteY16" fmla="*/ 661147 h 2451369"/>
                  <a:gd name="connsiteX17" fmla="*/ 1682991 w 1712951"/>
                  <a:gd name="connsiteY17" fmla="*/ 706852 h 2451369"/>
                  <a:gd name="connsiteX18" fmla="*/ 1694018 w 1712951"/>
                  <a:gd name="connsiteY18" fmla="*/ 749512 h 2451369"/>
                  <a:gd name="connsiteX19" fmla="*/ 1706327 w 1712951"/>
                  <a:gd name="connsiteY19" fmla="*/ 810453 h 2451369"/>
                  <a:gd name="connsiteX20" fmla="*/ 1706267 w 1712951"/>
                  <a:gd name="connsiteY20" fmla="*/ 1145634 h 2451369"/>
                  <a:gd name="connsiteX21" fmla="*/ 1694147 w 1712951"/>
                  <a:gd name="connsiteY21" fmla="*/ 1203527 h 2451369"/>
                  <a:gd name="connsiteX22" fmla="*/ 1664737 w 1712951"/>
                  <a:gd name="connsiteY22" fmla="*/ 1302955 h 2451369"/>
                  <a:gd name="connsiteX23" fmla="*/ 1657596 w 1712951"/>
                  <a:gd name="connsiteY23" fmla="*/ 1325232 h 2451369"/>
                  <a:gd name="connsiteX24" fmla="*/ 1646274 w 1712951"/>
                  <a:gd name="connsiteY24" fmla="*/ 1353783 h 2451369"/>
                  <a:gd name="connsiteX25" fmla="*/ 1579983 w 1712951"/>
                  <a:gd name="connsiteY25" fmla="*/ 1482348 h 2451369"/>
                  <a:gd name="connsiteX26" fmla="*/ 1566183 w 1712951"/>
                  <a:gd name="connsiteY26" fmla="*/ 1508000 h 2451369"/>
                  <a:gd name="connsiteX27" fmla="*/ 1561612 w 1712951"/>
                  <a:gd name="connsiteY27" fmla="*/ 1515346 h 2451369"/>
                  <a:gd name="connsiteX28" fmla="*/ 1536059 w 1712951"/>
                  <a:gd name="connsiteY28" fmla="*/ 1547849 h 2451369"/>
                  <a:gd name="connsiteX29" fmla="*/ 1501018 w 1712951"/>
                  <a:gd name="connsiteY29" fmla="*/ 1591740 h 2451369"/>
                  <a:gd name="connsiteX30" fmla="*/ 1486959 w 1712951"/>
                  <a:gd name="connsiteY30" fmla="*/ 1610083 h 2451369"/>
                  <a:gd name="connsiteX31" fmla="*/ 645859 w 1712951"/>
                  <a:gd name="connsiteY31" fmla="*/ 2451366 h 2451369"/>
                  <a:gd name="connsiteX32" fmla="*/ 326344 w 1712951"/>
                  <a:gd name="connsiteY32" fmla="*/ 2448264 h 2451369"/>
                  <a:gd name="connsiteX33" fmla="*/ 326363 w 1712951"/>
                  <a:gd name="connsiteY33" fmla="*/ 2448263 h 2451369"/>
                  <a:gd name="connsiteX34" fmla="*/ 4989 w 1712951"/>
                  <a:gd name="connsiteY34" fmla="*/ 2439067 h 2451369"/>
                  <a:gd name="connsiteX35" fmla="*/ 93 w 1712951"/>
                  <a:gd name="connsiteY35" fmla="*/ 1380732 h 2451369"/>
                  <a:gd name="connsiteX36" fmla="*/ 0 w 1712951"/>
                  <a:gd name="connsiteY36" fmla="*/ 329959 h 2451369"/>
                  <a:gd name="connsiteX37" fmla="*/ 41136 w 1712951"/>
                  <a:gd name="connsiteY37" fmla="*/ 289770 h 2451369"/>
                  <a:gd name="connsiteX38" fmla="*/ 182263 w 1712951"/>
                  <a:gd name="connsiteY38" fmla="*/ 173612 h 2451369"/>
                  <a:gd name="connsiteX39" fmla="*/ 188919 w 1712951"/>
                  <a:gd name="connsiteY39" fmla="*/ 168832 h 2451369"/>
                  <a:gd name="connsiteX40" fmla="*/ 208725 w 1712951"/>
                  <a:gd name="connsiteY40" fmla="*/ 152532 h 2451369"/>
                  <a:gd name="connsiteX41" fmla="*/ 231578 w 1712951"/>
                  <a:gd name="connsiteY41" fmla="*/ 137239 h 2451369"/>
                  <a:gd name="connsiteX42" fmla="*/ 307756 w 1712951"/>
                  <a:gd name="connsiteY42" fmla="*/ 98355 h 2451369"/>
                  <a:gd name="connsiteX43" fmla="*/ 390800 w 1712951"/>
                  <a:gd name="connsiteY43" fmla="*/ 57903 h 2451369"/>
                  <a:gd name="connsiteX44" fmla="*/ 424318 w 1712951"/>
                  <a:gd name="connsiteY44" fmla="*/ 48304 h 2451369"/>
                  <a:gd name="connsiteX45" fmla="*/ 454016 w 1712951"/>
                  <a:gd name="connsiteY45" fmla="*/ 39286 h 2451369"/>
                  <a:gd name="connsiteX46" fmla="*/ 490581 w 1712951"/>
                  <a:gd name="connsiteY46" fmla="*/ 28486 h 2451369"/>
                  <a:gd name="connsiteX47" fmla="*/ 557617 w 1712951"/>
                  <a:gd name="connsiteY47" fmla="*/ 11800 h 2451369"/>
                  <a:gd name="connsiteX48" fmla="*/ 737602 w 1712951"/>
                  <a:gd name="connsiteY48" fmla="*/ 1 h 2451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712951" h="2451369">
                    <a:moveTo>
                      <a:pt x="737602" y="1"/>
                    </a:moveTo>
                    <a:cubicBezTo>
                      <a:pt x="814093" y="-18"/>
                      <a:pt x="890515" y="3880"/>
                      <a:pt x="917173" y="11709"/>
                    </a:cubicBezTo>
                    <a:cubicBezTo>
                      <a:pt x="937284" y="17615"/>
                      <a:pt x="967450" y="25165"/>
                      <a:pt x="984209" y="28486"/>
                    </a:cubicBezTo>
                    <a:cubicBezTo>
                      <a:pt x="1000968" y="31808"/>
                      <a:pt x="1017422" y="36640"/>
                      <a:pt x="1020774" y="39222"/>
                    </a:cubicBezTo>
                    <a:cubicBezTo>
                      <a:pt x="1024126" y="41806"/>
                      <a:pt x="1036395" y="45731"/>
                      <a:pt x="1048040" y="47945"/>
                    </a:cubicBezTo>
                    <a:cubicBezTo>
                      <a:pt x="1090012" y="55925"/>
                      <a:pt x="1210053" y="115725"/>
                      <a:pt x="1284311" y="165647"/>
                    </a:cubicBezTo>
                    <a:cubicBezTo>
                      <a:pt x="1341397" y="204024"/>
                      <a:pt x="1437467" y="287541"/>
                      <a:pt x="1465649" y="323290"/>
                    </a:cubicBezTo>
                    <a:cubicBezTo>
                      <a:pt x="1475705" y="336046"/>
                      <a:pt x="1494158" y="357635"/>
                      <a:pt x="1506657" y="371266"/>
                    </a:cubicBezTo>
                    <a:cubicBezTo>
                      <a:pt x="1519155" y="384897"/>
                      <a:pt x="1530996" y="400848"/>
                      <a:pt x="1532968" y="406715"/>
                    </a:cubicBezTo>
                    <a:cubicBezTo>
                      <a:pt x="1534940" y="412580"/>
                      <a:pt x="1539111" y="417379"/>
                      <a:pt x="1542237" y="417379"/>
                    </a:cubicBezTo>
                    <a:cubicBezTo>
                      <a:pt x="1545363" y="417379"/>
                      <a:pt x="1547921" y="419809"/>
                      <a:pt x="1547921" y="422779"/>
                    </a:cubicBezTo>
                    <a:cubicBezTo>
                      <a:pt x="1547921" y="425748"/>
                      <a:pt x="1558890" y="444606"/>
                      <a:pt x="1572297" y="464683"/>
                    </a:cubicBezTo>
                    <a:cubicBezTo>
                      <a:pt x="1585704" y="484760"/>
                      <a:pt x="1596674" y="504269"/>
                      <a:pt x="1596674" y="508036"/>
                    </a:cubicBezTo>
                    <a:cubicBezTo>
                      <a:pt x="1596674" y="511804"/>
                      <a:pt x="1599416" y="514886"/>
                      <a:pt x="1602768" y="514886"/>
                    </a:cubicBezTo>
                    <a:cubicBezTo>
                      <a:pt x="1606119" y="514886"/>
                      <a:pt x="1608862" y="517356"/>
                      <a:pt x="1608862" y="520375"/>
                    </a:cubicBezTo>
                    <a:cubicBezTo>
                      <a:pt x="1608862" y="523394"/>
                      <a:pt x="1619420" y="548761"/>
                      <a:pt x="1632325" y="576746"/>
                    </a:cubicBezTo>
                    <a:cubicBezTo>
                      <a:pt x="1645229" y="604732"/>
                      <a:pt x="1660687" y="642711"/>
                      <a:pt x="1666675" y="661147"/>
                    </a:cubicBezTo>
                    <a:cubicBezTo>
                      <a:pt x="1672664" y="679581"/>
                      <a:pt x="1680006" y="700148"/>
                      <a:pt x="1682991" y="706852"/>
                    </a:cubicBezTo>
                    <a:cubicBezTo>
                      <a:pt x="1685975" y="713556"/>
                      <a:pt x="1690937" y="732753"/>
                      <a:pt x="1694018" y="749512"/>
                    </a:cubicBezTo>
                    <a:cubicBezTo>
                      <a:pt x="1697098" y="766271"/>
                      <a:pt x="1702637" y="793694"/>
                      <a:pt x="1706327" y="810453"/>
                    </a:cubicBezTo>
                    <a:cubicBezTo>
                      <a:pt x="1715186" y="850684"/>
                      <a:pt x="1715154" y="1105970"/>
                      <a:pt x="1706267" y="1145634"/>
                    </a:cubicBezTo>
                    <a:cubicBezTo>
                      <a:pt x="1702519" y="1162392"/>
                      <a:pt x="1697066" y="1188445"/>
                      <a:pt x="1694147" y="1203527"/>
                    </a:cubicBezTo>
                    <a:cubicBezTo>
                      <a:pt x="1688226" y="1234134"/>
                      <a:pt x="1675559" y="1276958"/>
                      <a:pt x="1664737" y="1302955"/>
                    </a:cubicBezTo>
                    <a:cubicBezTo>
                      <a:pt x="1660809" y="1312391"/>
                      <a:pt x="1657596" y="1322415"/>
                      <a:pt x="1657596" y="1325232"/>
                    </a:cubicBezTo>
                    <a:cubicBezTo>
                      <a:pt x="1657596" y="1328049"/>
                      <a:pt x="1652500" y="1340897"/>
                      <a:pt x="1646274" y="1353783"/>
                    </a:cubicBezTo>
                    <a:cubicBezTo>
                      <a:pt x="1602301" y="1444774"/>
                      <a:pt x="1592238" y="1464289"/>
                      <a:pt x="1579983" y="1482348"/>
                    </a:cubicBezTo>
                    <a:cubicBezTo>
                      <a:pt x="1572393" y="1493533"/>
                      <a:pt x="1566183" y="1505076"/>
                      <a:pt x="1566183" y="1508000"/>
                    </a:cubicBezTo>
                    <a:cubicBezTo>
                      <a:pt x="1566183" y="1510923"/>
                      <a:pt x="1564127" y="1514229"/>
                      <a:pt x="1561612" y="1515346"/>
                    </a:cubicBezTo>
                    <a:cubicBezTo>
                      <a:pt x="1559099" y="1516464"/>
                      <a:pt x="1547600" y="1531090"/>
                      <a:pt x="1536059" y="1547849"/>
                    </a:cubicBezTo>
                    <a:cubicBezTo>
                      <a:pt x="1524518" y="1564607"/>
                      <a:pt x="1508750" y="1584359"/>
                      <a:pt x="1501018" y="1591740"/>
                    </a:cubicBezTo>
                    <a:cubicBezTo>
                      <a:pt x="1493285" y="1599122"/>
                      <a:pt x="1486959" y="1607376"/>
                      <a:pt x="1486959" y="1610083"/>
                    </a:cubicBezTo>
                    <a:cubicBezTo>
                      <a:pt x="1486959" y="1616185"/>
                      <a:pt x="649930" y="2453396"/>
                      <a:pt x="645859" y="2451366"/>
                    </a:cubicBezTo>
                    <a:cubicBezTo>
                      <a:pt x="644240" y="2450559"/>
                      <a:pt x="500459" y="2449163"/>
                      <a:pt x="326344" y="2448264"/>
                    </a:cubicBezTo>
                    <a:lnTo>
                      <a:pt x="326363" y="2448263"/>
                    </a:lnTo>
                    <a:cubicBezTo>
                      <a:pt x="82450" y="2447004"/>
                      <a:pt x="8690" y="2444893"/>
                      <a:pt x="4989" y="2439067"/>
                    </a:cubicBezTo>
                    <a:cubicBezTo>
                      <a:pt x="2347" y="2434907"/>
                      <a:pt x="144" y="1958657"/>
                      <a:pt x="93" y="1380732"/>
                    </a:cubicBezTo>
                    <a:lnTo>
                      <a:pt x="0" y="329959"/>
                    </a:lnTo>
                    <a:lnTo>
                      <a:pt x="41136" y="289770"/>
                    </a:lnTo>
                    <a:cubicBezTo>
                      <a:pt x="101401" y="230892"/>
                      <a:pt x="170994" y="173612"/>
                      <a:pt x="182263" y="173612"/>
                    </a:cubicBezTo>
                    <a:cubicBezTo>
                      <a:pt x="185924" y="173612"/>
                      <a:pt x="188919" y="171461"/>
                      <a:pt x="188919" y="168832"/>
                    </a:cubicBezTo>
                    <a:cubicBezTo>
                      <a:pt x="188919" y="166203"/>
                      <a:pt x="197831" y="158867"/>
                      <a:pt x="208725" y="152532"/>
                    </a:cubicBezTo>
                    <a:cubicBezTo>
                      <a:pt x="219619" y="146196"/>
                      <a:pt x="229903" y="139314"/>
                      <a:pt x="231578" y="137239"/>
                    </a:cubicBezTo>
                    <a:cubicBezTo>
                      <a:pt x="233254" y="135164"/>
                      <a:pt x="267534" y="117666"/>
                      <a:pt x="307756" y="98355"/>
                    </a:cubicBezTo>
                    <a:cubicBezTo>
                      <a:pt x="347977" y="79043"/>
                      <a:pt x="385348" y="60840"/>
                      <a:pt x="390800" y="57903"/>
                    </a:cubicBezTo>
                    <a:cubicBezTo>
                      <a:pt x="396253" y="54966"/>
                      <a:pt x="411336" y="50646"/>
                      <a:pt x="424318" y="48304"/>
                    </a:cubicBezTo>
                    <a:cubicBezTo>
                      <a:pt x="437300" y="45962"/>
                      <a:pt x="450664" y="41903"/>
                      <a:pt x="454016" y="39286"/>
                    </a:cubicBezTo>
                    <a:cubicBezTo>
                      <a:pt x="457367" y="36667"/>
                      <a:pt x="473822" y="31808"/>
                      <a:pt x="490581" y="28486"/>
                    </a:cubicBezTo>
                    <a:cubicBezTo>
                      <a:pt x="507340" y="25165"/>
                      <a:pt x="537506" y="17656"/>
                      <a:pt x="557617" y="11800"/>
                    </a:cubicBezTo>
                    <a:cubicBezTo>
                      <a:pt x="584551" y="3958"/>
                      <a:pt x="661111" y="20"/>
                      <a:pt x="737602" y="1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4E5758D2-B7E6-405D-8DBF-2914261D93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75340" y="761102"/>
                <a:ext cx="1950105" cy="1952131"/>
              </a:xfrm>
              <a:custGeom>
                <a:avLst/>
                <a:gdLst>
                  <a:gd name="connsiteX0" fmla="*/ 1939610 w 1950105"/>
                  <a:gd name="connsiteY0" fmla="*/ 0 h 1952131"/>
                  <a:gd name="connsiteX1" fmla="*/ 1950105 w 1950105"/>
                  <a:gd name="connsiteY1" fmla="*/ 972212 h 1952131"/>
                  <a:gd name="connsiteX2" fmla="*/ 1942487 w 1950105"/>
                  <a:gd name="connsiteY2" fmla="*/ 1947271 h 1952131"/>
                  <a:gd name="connsiteX3" fmla="*/ 2507 w 1950105"/>
                  <a:gd name="connsiteY3" fmla="*/ 1950644 h 1952131"/>
                  <a:gd name="connsiteX4" fmla="*/ 1 w 1950105"/>
                  <a:gd name="connsiteY4" fmla="*/ 1938455 h 1952131"/>
                  <a:gd name="connsiteX5" fmla="*/ 1939610 w 1950105"/>
                  <a:gd name="connsiteY5" fmla="*/ 0 h 1952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0105" h="1952131">
                    <a:moveTo>
                      <a:pt x="1939610" y="0"/>
                    </a:moveTo>
                    <a:cubicBezTo>
                      <a:pt x="1949496" y="0"/>
                      <a:pt x="1950105" y="56363"/>
                      <a:pt x="1950105" y="972212"/>
                    </a:cubicBezTo>
                    <a:cubicBezTo>
                      <a:pt x="1950105" y="1744401"/>
                      <a:pt x="1948538" y="1945010"/>
                      <a:pt x="1942487" y="1947271"/>
                    </a:cubicBezTo>
                    <a:cubicBezTo>
                      <a:pt x="1933037" y="1950804"/>
                      <a:pt x="6016" y="1954154"/>
                      <a:pt x="2507" y="1950644"/>
                    </a:cubicBezTo>
                    <a:cubicBezTo>
                      <a:pt x="1110" y="1949248"/>
                      <a:pt x="-18" y="1943763"/>
                      <a:pt x="1" y="1938455"/>
                    </a:cubicBezTo>
                    <a:cubicBezTo>
                      <a:pt x="62" y="1925249"/>
                      <a:pt x="1926440" y="0"/>
                      <a:pt x="1939610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A75370E3-7989-40C1-8F3B-DBA0161DA9B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7837089" y="1678276"/>
                <a:ext cx="2184431" cy="2152034"/>
              </a:xfrm>
              <a:custGeom>
                <a:avLst/>
                <a:gdLst>
                  <a:gd name="connsiteX0" fmla="*/ 2184431 w 2184431"/>
                  <a:gd name="connsiteY0" fmla="*/ 0 h 2152034"/>
                  <a:gd name="connsiteX1" fmla="*/ 2184431 w 2184431"/>
                  <a:gd name="connsiteY1" fmla="*/ 1075622 h 2152034"/>
                  <a:gd name="connsiteX2" fmla="*/ 2184431 w 2184431"/>
                  <a:gd name="connsiteY2" fmla="*/ 2151244 h 2152034"/>
                  <a:gd name="connsiteX3" fmla="*/ 1584154 w 2184431"/>
                  <a:gd name="connsiteY3" fmla="*/ 2151983 h 2152034"/>
                  <a:gd name="connsiteX4" fmla="*/ 950361 w 2184431"/>
                  <a:gd name="connsiteY4" fmla="*/ 2147153 h 2152034"/>
                  <a:gd name="connsiteX5" fmla="*/ 950362 w 2184431"/>
                  <a:gd name="connsiteY5" fmla="*/ 2147153 h 2152034"/>
                  <a:gd name="connsiteX6" fmla="*/ 801055 w 2184431"/>
                  <a:gd name="connsiteY6" fmla="*/ 2117829 h 2152034"/>
                  <a:gd name="connsiteX7" fmla="*/ 768794 w 2184431"/>
                  <a:gd name="connsiteY7" fmla="*/ 2109303 h 2152034"/>
                  <a:gd name="connsiteX8" fmla="*/ 732229 w 2184431"/>
                  <a:gd name="connsiteY8" fmla="*/ 2099949 h 2152034"/>
                  <a:gd name="connsiteX9" fmla="*/ 676123 w 2184431"/>
                  <a:gd name="connsiteY9" fmla="*/ 2077771 h 2152034"/>
                  <a:gd name="connsiteX10" fmla="*/ 476956 w 2184431"/>
                  <a:gd name="connsiteY10" fmla="*/ 1972835 h 2152034"/>
                  <a:gd name="connsiteX11" fmla="*/ 411998 w 2184431"/>
                  <a:gd name="connsiteY11" fmla="*/ 1930683 h 2152034"/>
                  <a:gd name="connsiteX12" fmla="*/ 208178 w 2184431"/>
                  <a:gd name="connsiteY12" fmla="*/ 1724647 h 2152034"/>
                  <a:gd name="connsiteX13" fmla="*/ 187067 w 2184431"/>
                  <a:gd name="connsiteY13" fmla="*/ 1696106 h 2152034"/>
                  <a:gd name="connsiteX14" fmla="*/ 170308 w 2184431"/>
                  <a:gd name="connsiteY14" fmla="*/ 1670824 h 2152034"/>
                  <a:gd name="connsiteX15" fmla="*/ 150443 w 2184431"/>
                  <a:gd name="connsiteY15" fmla="*/ 1638423 h 2152034"/>
                  <a:gd name="connsiteX16" fmla="*/ 64464 w 2184431"/>
                  <a:gd name="connsiteY16" fmla="*/ 1470822 h 2152034"/>
                  <a:gd name="connsiteX17" fmla="*/ 54518 w 2184431"/>
                  <a:gd name="connsiteY17" fmla="*/ 1432735 h 2152034"/>
                  <a:gd name="connsiteX18" fmla="*/ 48700 w 2184431"/>
                  <a:gd name="connsiteY18" fmla="*/ 1416896 h 2152034"/>
                  <a:gd name="connsiteX19" fmla="*/ 38926 w 2184431"/>
                  <a:gd name="connsiteY19" fmla="*/ 1394044 h 2152034"/>
                  <a:gd name="connsiteX20" fmla="*/ 25602 w 2184431"/>
                  <a:gd name="connsiteY20" fmla="*/ 1343766 h 2152034"/>
                  <a:gd name="connsiteX21" fmla="*/ 26121 w 2184431"/>
                  <a:gd name="connsiteY21" fmla="*/ 807478 h 2152034"/>
                  <a:gd name="connsiteX22" fmla="*/ 36183 w 2184431"/>
                  <a:gd name="connsiteY22" fmla="*/ 767867 h 2152034"/>
                  <a:gd name="connsiteX23" fmla="*/ 45413 w 2184431"/>
                  <a:gd name="connsiteY23" fmla="*/ 738222 h 2152034"/>
                  <a:gd name="connsiteX24" fmla="*/ 54517 w 2184431"/>
                  <a:gd name="connsiteY24" fmla="*/ 711720 h 2152034"/>
                  <a:gd name="connsiteX25" fmla="*/ 142783 w 2184431"/>
                  <a:gd name="connsiteY25" fmla="*/ 524522 h 2152034"/>
                  <a:gd name="connsiteX26" fmla="*/ 160705 w 2184431"/>
                  <a:gd name="connsiteY26" fmla="*/ 496564 h 2152034"/>
                  <a:gd name="connsiteX27" fmla="*/ 175998 w 2184431"/>
                  <a:gd name="connsiteY27" fmla="*/ 472299 h 2152034"/>
                  <a:gd name="connsiteX28" fmla="*/ 196073 w 2184431"/>
                  <a:gd name="connsiteY28" fmla="*/ 443768 h 2152034"/>
                  <a:gd name="connsiteX29" fmla="*/ 283274 w 2184431"/>
                  <a:gd name="connsiteY29" fmla="*/ 337688 h 2152034"/>
                  <a:gd name="connsiteX30" fmla="*/ 435671 w 2184431"/>
                  <a:gd name="connsiteY30" fmla="*/ 204469 h 2152034"/>
                  <a:gd name="connsiteX31" fmla="*/ 468921 w 2184431"/>
                  <a:gd name="connsiteY31" fmla="*/ 179786 h 2152034"/>
                  <a:gd name="connsiteX32" fmla="*/ 541634 w 2184431"/>
                  <a:gd name="connsiteY32" fmla="*/ 137120 h 2152034"/>
                  <a:gd name="connsiteX33" fmla="*/ 549160 w 2184431"/>
                  <a:gd name="connsiteY33" fmla="*/ 132549 h 2152034"/>
                  <a:gd name="connsiteX34" fmla="*/ 683654 w 2184431"/>
                  <a:gd name="connsiteY34" fmla="*/ 70083 h 2152034"/>
                  <a:gd name="connsiteX35" fmla="*/ 697757 w 2184431"/>
                  <a:gd name="connsiteY35" fmla="*/ 64559 h 2152034"/>
                  <a:gd name="connsiteX36" fmla="*/ 831524 w 2184431"/>
                  <a:gd name="connsiteY36" fmla="*/ 23453 h 2152034"/>
                  <a:gd name="connsiteX37" fmla="*/ 1581108 w 2184431"/>
                  <a:gd name="connsiteY37" fmla="*/ 111 h 2152034"/>
                  <a:gd name="connsiteX38" fmla="*/ 2184431 w 2184431"/>
                  <a:gd name="connsiteY38" fmla="*/ 0 h 2152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184431" h="2152034">
                    <a:moveTo>
                      <a:pt x="2184431" y="0"/>
                    </a:moveTo>
                    <a:lnTo>
                      <a:pt x="2184431" y="1075622"/>
                    </a:lnTo>
                    <a:lnTo>
                      <a:pt x="2184431" y="2151244"/>
                    </a:lnTo>
                    <a:lnTo>
                      <a:pt x="1584154" y="2151983"/>
                    </a:lnTo>
                    <a:cubicBezTo>
                      <a:pt x="1246349" y="2152397"/>
                      <a:pt x="969223" y="2150285"/>
                      <a:pt x="950361" y="2147153"/>
                    </a:cubicBezTo>
                    <a:lnTo>
                      <a:pt x="950362" y="2147153"/>
                    </a:lnTo>
                    <a:cubicBezTo>
                      <a:pt x="851495" y="2130729"/>
                      <a:pt x="806521" y="2121896"/>
                      <a:pt x="801055" y="2117829"/>
                    </a:cubicBezTo>
                    <a:cubicBezTo>
                      <a:pt x="797702" y="2115336"/>
                      <a:pt x="783185" y="2111499"/>
                      <a:pt x="768794" y="2109303"/>
                    </a:cubicBezTo>
                    <a:cubicBezTo>
                      <a:pt x="754402" y="2107105"/>
                      <a:pt x="737948" y="2102897"/>
                      <a:pt x="732229" y="2099949"/>
                    </a:cubicBezTo>
                    <a:cubicBezTo>
                      <a:pt x="726509" y="2097001"/>
                      <a:pt x="701263" y="2087021"/>
                      <a:pt x="676123" y="2077771"/>
                    </a:cubicBezTo>
                    <a:cubicBezTo>
                      <a:pt x="616551" y="2055853"/>
                      <a:pt x="541531" y="2016326"/>
                      <a:pt x="476956" y="1972835"/>
                    </a:cubicBezTo>
                    <a:cubicBezTo>
                      <a:pt x="448467" y="1953647"/>
                      <a:pt x="419236" y="1934679"/>
                      <a:pt x="411998" y="1930683"/>
                    </a:cubicBezTo>
                    <a:cubicBezTo>
                      <a:pt x="384677" y="1915601"/>
                      <a:pt x="240285" y="1769639"/>
                      <a:pt x="208178" y="1724647"/>
                    </a:cubicBezTo>
                    <a:cubicBezTo>
                      <a:pt x="205784" y="1721292"/>
                      <a:pt x="196284" y="1708449"/>
                      <a:pt x="187067" y="1696106"/>
                    </a:cubicBezTo>
                    <a:cubicBezTo>
                      <a:pt x="177848" y="1683763"/>
                      <a:pt x="170308" y="1672386"/>
                      <a:pt x="170308" y="1670824"/>
                    </a:cubicBezTo>
                    <a:cubicBezTo>
                      <a:pt x="170308" y="1669260"/>
                      <a:pt x="161368" y="1654680"/>
                      <a:pt x="150443" y="1638423"/>
                    </a:cubicBezTo>
                    <a:cubicBezTo>
                      <a:pt x="132813" y="1612189"/>
                      <a:pt x="92699" y="1533993"/>
                      <a:pt x="64464" y="1470822"/>
                    </a:cubicBezTo>
                    <a:cubicBezTo>
                      <a:pt x="58993" y="1458585"/>
                      <a:pt x="54518" y="1441445"/>
                      <a:pt x="54518" y="1432735"/>
                    </a:cubicBezTo>
                    <a:cubicBezTo>
                      <a:pt x="54518" y="1424024"/>
                      <a:pt x="51900" y="1416896"/>
                      <a:pt x="48700" y="1416896"/>
                    </a:cubicBezTo>
                    <a:cubicBezTo>
                      <a:pt x="45500" y="1416896"/>
                      <a:pt x="41101" y="1406613"/>
                      <a:pt x="38926" y="1394044"/>
                    </a:cubicBezTo>
                    <a:cubicBezTo>
                      <a:pt x="36750" y="1381474"/>
                      <a:pt x="30754" y="1358849"/>
                      <a:pt x="25602" y="1343766"/>
                    </a:cubicBezTo>
                    <a:cubicBezTo>
                      <a:pt x="-8785" y="1243105"/>
                      <a:pt x="-8454" y="902906"/>
                      <a:pt x="26121" y="807478"/>
                    </a:cubicBezTo>
                    <a:cubicBezTo>
                      <a:pt x="31585" y="792396"/>
                      <a:pt x="36113" y="774570"/>
                      <a:pt x="36183" y="767867"/>
                    </a:cubicBezTo>
                    <a:cubicBezTo>
                      <a:pt x="36249" y="761163"/>
                      <a:pt x="40406" y="747824"/>
                      <a:pt x="45413" y="738222"/>
                    </a:cubicBezTo>
                    <a:cubicBezTo>
                      <a:pt x="50419" y="728622"/>
                      <a:pt x="54517" y="716696"/>
                      <a:pt x="54517" y="711720"/>
                    </a:cubicBezTo>
                    <a:cubicBezTo>
                      <a:pt x="54517" y="696968"/>
                      <a:pt x="128496" y="540071"/>
                      <a:pt x="142783" y="524522"/>
                    </a:cubicBezTo>
                    <a:cubicBezTo>
                      <a:pt x="146189" y="520815"/>
                      <a:pt x="154254" y="508234"/>
                      <a:pt x="160705" y="496564"/>
                    </a:cubicBezTo>
                    <a:cubicBezTo>
                      <a:pt x="167157" y="484894"/>
                      <a:pt x="174038" y="473976"/>
                      <a:pt x="175998" y="472299"/>
                    </a:cubicBezTo>
                    <a:cubicBezTo>
                      <a:pt x="177958" y="470623"/>
                      <a:pt x="186992" y="457784"/>
                      <a:pt x="196073" y="443768"/>
                    </a:cubicBezTo>
                    <a:cubicBezTo>
                      <a:pt x="211105" y="420571"/>
                      <a:pt x="230605" y="396850"/>
                      <a:pt x="283274" y="337688"/>
                    </a:cubicBezTo>
                    <a:cubicBezTo>
                      <a:pt x="320359" y="296033"/>
                      <a:pt x="383861" y="240522"/>
                      <a:pt x="435671" y="204469"/>
                    </a:cubicBezTo>
                    <a:cubicBezTo>
                      <a:pt x="452282" y="192910"/>
                      <a:pt x="467244" y="181803"/>
                      <a:pt x="468921" y="179786"/>
                    </a:cubicBezTo>
                    <a:cubicBezTo>
                      <a:pt x="474325" y="173284"/>
                      <a:pt x="535956" y="137120"/>
                      <a:pt x="541634" y="137120"/>
                    </a:cubicBezTo>
                    <a:cubicBezTo>
                      <a:pt x="544656" y="137120"/>
                      <a:pt x="548042" y="135063"/>
                      <a:pt x="549160" y="132549"/>
                    </a:cubicBezTo>
                    <a:cubicBezTo>
                      <a:pt x="552633" y="124734"/>
                      <a:pt x="670303" y="70083"/>
                      <a:pt x="683654" y="70083"/>
                    </a:cubicBezTo>
                    <a:cubicBezTo>
                      <a:pt x="688226" y="70083"/>
                      <a:pt x="694573" y="67598"/>
                      <a:pt x="697757" y="64559"/>
                    </a:cubicBezTo>
                    <a:cubicBezTo>
                      <a:pt x="705815" y="56871"/>
                      <a:pt x="780380" y="33958"/>
                      <a:pt x="831524" y="23453"/>
                    </a:cubicBezTo>
                    <a:cubicBezTo>
                      <a:pt x="940225" y="1129"/>
                      <a:pt x="969242" y="224"/>
                      <a:pt x="1581108" y="111"/>
                    </a:cubicBezTo>
                    <a:lnTo>
                      <a:pt x="2184431" y="0"/>
                    </a:ln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E287E65B-1673-417F-8C88-6616FF5925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3278975" y="2869688"/>
                <a:ext cx="1674822" cy="2401637"/>
              </a:xfrm>
              <a:custGeom>
                <a:avLst/>
                <a:gdLst>
                  <a:gd name="connsiteX0" fmla="*/ 334458 w 1674822"/>
                  <a:gd name="connsiteY0" fmla="*/ 0 h 2401637"/>
                  <a:gd name="connsiteX1" fmla="*/ 661517 w 1674822"/>
                  <a:gd name="connsiteY1" fmla="*/ 0 h 2401637"/>
                  <a:gd name="connsiteX2" fmla="*/ 1060842 w 1674822"/>
                  <a:gd name="connsiteY2" fmla="*/ 400693 h 2401637"/>
                  <a:gd name="connsiteX3" fmla="*/ 1497894 w 1674822"/>
                  <a:gd name="connsiteY3" fmla="*/ 856232 h 2401637"/>
                  <a:gd name="connsiteX4" fmla="*/ 1540442 w 1674822"/>
                  <a:gd name="connsiteY4" fmla="*/ 917174 h 2401637"/>
                  <a:gd name="connsiteX5" fmla="*/ 1608900 w 1674822"/>
                  <a:gd name="connsiteY5" fmla="*/ 1056276 h 2401637"/>
                  <a:gd name="connsiteX6" fmla="*/ 1616809 w 1674822"/>
                  <a:gd name="connsiteY6" fmla="*/ 1078669 h 2401637"/>
                  <a:gd name="connsiteX7" fmla="*/ 1667002 w 1674822"/>
                  <a:gd name="connsiteY7" fmla="*/ 1267588 h 2401637"/>
                  <a:gd name="connsiteX8" fmla="*/ 1661895 w 1674822"/>
                  <a:gd name="connsiteY8" fmla="*/ 1599721 h 2401637"/>
                  <a:gd name="connsiteX9" fmla="*/ 1621485 w 1674822"/>
                  <a:gd name="connsiteY9" fmla="*/ 1745847 h 2401637"/>
                  <a:gd name="connsiteX10" fmla="*/ 1612593 w 1674822"/>
                  <a:gd name="connsiteY10" fmla="*/ 1768994 h 2401637"/>
                  <a:gd name="connsiteX11" fmla="*/ 1519716 w 1674822"/>
                  <a:gd name="connsiteY11" fmla="*/ 1950616 h 2401637"/>
                  <a:gd name="connsiteX12" fmla="*/ 1511356 w 1674822"/>
                  <a:gd name="connsiteY12" fmla="*/ 1966029 h 2401637"/>
                  <a:gd name="connsiteX13" fmla="*/ 1499167 w 1674822"/>
                  <a:gd name="connsiteY13" fmla="*/ 1980607 h 2401637"/>
                  <a:gd name="connsiteX14" fmla="*/ 1486979 w 1674822"/>
                  <a:gd name="connsiteY14" fmla="*/ 1996172 h 2401637"/>
                  <a:gd name="connsiteX15" fmla="*/ 1468866 w 1674822"/>
                  <a:gd name="connsiteY15" fmla="*/ 2020727 h 2401637"/>
                  <a:gd name="connsiteX16" fmla="*/ 1450584 w 1674822"/>
                  <a:gd name="connsiteY16" fmla="*/ 2043594 h 2401637"/>
                  <a:gd name="connsiteX17" fmla="*/ 1261346 w 1674822"/>
                  <a:gd name="connsiteY17" fmla="*/ 2218281 h 2401637"/>
                  <a:gd name="connsiteX18" fmla="*/ 1231652 w 1674822"/>
                  <a:gd name="connsiteY18" fmla="*/ 2239609 h 2401637"/>
                  <a:gd name="connsiteX19" fmla="*/ 1203551 w 1674822"/>
                  <a:gd name="connsiteY19" fmla="*/ 2259149 h 2401637"/>
                  <a:gd name="connsiteX20" fmla="*/ 1048199 w 1674822"/>
                  <a:gd name="connsiteY20" fmla="*/ 2335604 h 2401637"/>
                  <a:gd name="connsiteX21" fmla="*/ 1022164 w 1674822"/>
                  <a:gd name="connsiteY21" fmla="*/ 2347104 h 2401637"/>
                  <a:gd name="connsiteX22" fmla="*/ 984076 w 1674822"/>
                  <a:gd name="connsiteY22" fmla="*/ 2356362 h 2401637"/>
                  <a:gd name="connsiteX23" fmla="*/ 956786 w 1674822"/>
                  <a:gd name="connsiteY23" fmla="*/ 2364468 h 2401637"/>
                  <a:gd name="connsiteX24" fmla="*/ 918697 w 1674822"/>
                  <a:gd name="connsiteY24" fmla="*/ 2375702 h 2401637"/>
                  <a:gd name="connsiteX25" fmla="*/ 831855 w 1674822"/>
                  <a:gd name="connsiteY25" fmla="*/ 2391717 h 2401637"/>
                  <a:gd name="connsiteX26" fmla="*/ 584314 w 1674822"/>
                  <a:gd name="connsiteY26" fmla="*/ 2398347 h 2401637"/>
                  <a:gd name="connsiteX27" fmla="*/ 548257 w 1674822"/>
                  <a:gd name="connsiteY27" fmla="*/ 2389771 h 2401637"/>
                  <a:gd name="connsiteX28" fmla="*/ 429639 w 1674822"/>
                  <a:gd name="connsiteY28" fmla="*/ 2364568 h 2401637"/>
                  <a:gd name="connsiteX29" fmla="*/ 399169 w 1674822"/>
                  <a:gd name="connsiteY29" fmla="*/ 2355648 h 2401637"/>
                  <a:gd name="connsiteX30" fmla="*/ 368697 w 1674822"/>
                  <a:gd name="connsiteY30" fmla="*/ 2346569 h 2401637"/>
                  <a:gd name="connsiteX31" fmla="*/ 332132 w 1674822"/>
                  <a:gd name="connsiteY31" fmla="*/ 2330684 h 2401637"/>
                  <a:gd name="connsiteX32" fmla="*/ 115851 w 1674822"/>
                  <a:gd name="connsiteY32" fmla="*/ 2207777 h 2401637"/>
                  <a:gd name="connsiteX33" fmla="*/ 96231 w 1674822"/>
                  <a:gd name="connsiteY33" fmla="*/ 2193904 h 2401637"/>
                  <a:gd name="connsiteX34" fmla="*/ 11074 w 1674822"/>
                  <a:gd name="connsiteY34" fmla="*/ 2119250 h 2401637"/>
                  <a:gd name="connsiteX35" fmla="*/ 0 w 1674822"/>
                  <a:gd name="connsiteY35" fmla="*/ 1063932 h 2401637"/>
                  <a:gd name="connsiteX36" fmla="*/ 3699 w 1674822"/>
                  <a:gd name="connsiteY36" fmla="*/ 9640 h 2401637"/>
                  <a:gd name="connsiteX37" fmla="*/ 334458 w 1674822"/>
                  <a:gd name="connsiteY37" fmla="*/ 0 h 2401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674822" h="2401637">
                    <a:moveTo>
                      <a:pt x="334458" y="0"/>
                    </a:moveTo>
                    <a:lnTo>
                      <a:pt x="661517" y="0"/>
                    </a:lnTo>
                    <a:lnTo>
                      <a:pt x="1060842" y="400693"/>
                    </a:lnTo>
                    <a:cubicBezTo>
                      <a:pt x="1379844" y="720785"/>
                      <a:pt x="1467756" y="812417"/>
                      <a:pt x="1497894" y="856232"/>
                    </a:cubicBezTo>
                    <a:cubicBezTo>
                      <a:pt x="1518645" y="886398"/>
                      <a:pt x="1537791" y="913822"/>
                      <a:pt x="1540442" y="917174"/>
                    </a:cubicBezTo>
                    <a:cubicBezTo>
                      <a:pt x="1549627" y="928788"/>
                      <a:pt x="1608862" y="1049150"/>
                      <a:pt x="1608900" y="1056276"/>
                    </a:cubicBezTo>
                    <a:cubicBezTo>
                      <a:pt x="1608900" y="1060212"/>
                      <a:pt x="1612479" y="1070290"/>
                      <a:pt x="1616809" y="1078669"/>
                    </a:cubicBezTo>
                    <a:cubicBezTo>
                      <a:pt x="1629117" y="1102494"/>
                      <a:pt x="1656040" y="1203824"/>
                      <a:pt x="1667002" y="1267588"/>
                    </a:cubicBezTo>
                    <a:cubicBezTo>
                      <a:pt x="1679415" y="1339780"/>
                      <a:pt x="1676564" y="1525140"/>
                      <a:pt x="1661895" y="1599721"/>
                    </a:cubicBezTo>
                    <a:cubicBezTo>
                      <a:pt x="1650756" y="1656366"/>
                      <a:pt x="1628504" y="1736827"/>
                      <a:pt x="1621485" y="1745847"/>
                    </a:cubicBezTo>
                    <a:cubicBezTo>
                      <a:pt x="1618818" y="1749272"/>
                      <a:pt x="1614818" y="1759689"/>
                      <a:pt x="1612593" y="1768994"/>
                    </a:cubicBezTo>
                    <a:cubicBezTo>
                      <a:pt x="1605780" y="1797501"/>
                      <a:pt x="1538586" y="1928900"/>
                      <a:pt x="1519716" y="1950616"/>
                    </a:cubicBezTo>
                    <a:cubicBezTo>
                      <a:pt x="1515118" y="1955908"/>
                      <a:pt x="1511356" y="1962844"/>
                      <a:pt x="1511356" y="1966029"/>
                    </a:cubicBezTo>
                    <a:cubicBezTo>
                      <a:pt x="1511356" y="1969216"/>
                      <a:pt x="1505871" y="1975776"/>
                      <a:pt x="1499167" y="1980607"/>
                    </a:cubicBezTo>
                    <a:cubicBezTo>
                      <a:pt x="1492464" y="1985439"/>
                      <a:pt x="1486979" y="1992443"/>
                      <a:pt x="1486979" y="1996172"/>
                    </a:cubicBezTo>
                    <a:cubicBezTo>
                      <a:pt x="1486979" y="1999902"/>
                      <a:pt x="1478828" y="2010951"/>
                      <a:pt x="1468866" y="2020727"/>
                    </a:cubicBezTo>
                    <a:cubicBezTo>
                      <a:pt x="1458903" y="2030503"/>
                      <a:pt x="1450676" y="2040793"/>
                      <a:pt x="1450584" y="2043594"/>
                    </a:cubicBezTo>
                    <a:cubicBezTo>
                      <a:pt x="1450149" y="2056666"/>
                      <a:pt x="1310538" y="2185541"/>
                      <a:pt x="1261346" y="2218281"/>
                    </a:cubicBezTo>
                    <a:cubicBezTo>
                      <a:pt x="1253791" y="2223308"/>
                      <a:pt x="1240429" y="2232906"/>
                      <a:pt x="1231652" y="2239609"/>
                    </a:cubicBezTo>
                    <a:cubicBezTo>
                      <a:pt x="1222873" y="2246313"/>
                      <a:pt x="1210228" y="2255106"/>
                      <a:pt x="1203551" y="2259149"/>
                    </a:cubicBezTo>
                    <a:cubicBezTo>
                      <a:pt x="1186982" y="2269182"/>
                      <a:pt x="1067068" y="2328195"/>
                      <a:pt x="1048199" y="2335604"/>
                    </a:cubicBezTo>
                    <a:cubicBezTo>
                      <a:pt x="1039818" y="2338894"/>
                      <a:pt x="1028104" y="2344069"/>
                      <a:pt x="1022164" y="2347104"/>
                    </a:cubicBezTo>
                    <a:cubicBezTo>
                      <a:pt x="1016225" y="2350138"/>
                      <a:pt x="999086" y="2354304"/>
                      <a:pt x="984076" y="2356362"/>
                    </a:cubicBezTo>
                    <a:cubicBezTo>
                      <a:pt x="969066" y="2358420"/>
                      <a:pt x="956786" y="2362067"/>
                      <a:pt x="956786" y="2364468"/>
                    </a:cubicBezTo>
                    <a:cubicBezTo>
                      <a:pt x="956786" y="2366869"/>
                      <a:pt x="939646" y="2371923"/>
                      <a:pt x="918697" y="2375702"/>
                    </a:cubicBezTo>
                    <a:cubicBezTo>
                      <a:pt x="897749" y="2379479"/>
                      <a:pt x="858669" y="2386686"/>
                      <a:pt x="831855" y="2391717"/>
                    </a:cubicBezTo>
                    <a:cubicBezTo>
                      <a:pt x="786871" y="2400158"/>
                      <a:pt x="591361" y="2405394"/>
                      <a:pt x="584314" y="2398347"/>
                    </a:cubicBezTo>
                    <a:cubicBezTo>
                      <a:pt x="582797" y="2396830"/>
                      <a:pt x="566571" y="2392971"/>
                      <a:pt x="548257" y="2389771"/>
                    </a:cubicBezTo>
                    <a:cubicBezTo>
                      <a:pt x="468129" y="2375769"/>
                      <a:pt x="435331" y="2368800"/>
                      <a:pt x="429639" y="2364568"/>
                    </a:cubicBezTo>
                    <a:cubicBezTo>
                      <a:pt x="426287" y="2362074"/>
                      <a:pt x="412576" y="2358061"/>
                      <a:pt x="399169" y="2355648"/>
                    </a:cubicBezTo>
                    <a:cubicBezTo>
                      <a:pt x="385761" y="2353236"/>
                      <a:pt x="372049" y="2349150"/>
                      <a:pt x="368697" y="2346569"/>
                    </a:cubicBezTo>
                    <a:cubicBezTo>
                      <a:pt x="365345" y="2343987"/>
                      <a:pt x="348892" y="2336840"/>
                      <a:pt x="332132" y="2330684"/>
                    </a:cubicBezTo>
                    <a:cubicBezTo>
                      <a:pt x="273392" y="2309108"/>
                      <a:pt x="149959" y="2238964"/>
                      <a:pt x="115851" y="2207777"/>
                    </a:cubicBezTo>
                    <a:cubicBezTo>
                      <a:pt x="107506" y="2200146"/>
                      <a:pt x="98676" y="2193904"/>
                      <a:pt x="96231" y="2193904"/>
                    </a:cubicBezTo>
                    <a:cubicBezTo>
                      <a:pt x="92440" y="2193904"/>
                      <a:pt x="49554" y="2156307"/>
                      <a:pt x="11074" y="2119250"/>
                    </a:cubicBezTo>
                    <a:cubicBezTo>
                      <a:pt x="455" y="2109024"/>
                      <a:pt x="0" y="2065581"/>
                      <a:pt x="0" y="1063932"/>
                    </a:cubicBezTo>
                    <a:cubicBezTo>
                      <a:pt x="0" y="489373"/>
                      <a:pt x="1664" y="14942"/>
                      <a:pt x="3699" y="9640"/>
                    </a:cubicBezTo>
                    <a:cubicBezTo>
                      <a:pt x="7009" y="1016"/>
                      <a:pt x="41844" y="0"/>
                      <a:pt x="334458" y="0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2BFBB5D-A006-4A12-A25A-F73964CA6F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369277" y="2870729"/>
                <a:ext cx="1942794" cy="1949095"/>
              </a:xfrm>
              <a:custGeom>
                <a:avLst/>
                <a:gdLst>
                  <a:gd name="connsiteX0" fmla="*/ 479067 w 1942794"/>
                  <a:gd name="connsiteY0" fmla="*/ 4 h 1949095"/>
                  <a:gd name="connsiteX1" fmla="*/ 970497 w 1942794"/>
                  <a:gd name="connsiteY1" fmla="*/ 464 h 1949095"/>
                  <a:gd name="connsiteX2" fmla="*/ 1940995 w 1942794"/>
                  <a:gd name="connsiteY2" fmla="*/ 2005 h 1949095"/>
                  <a:gd name="connsiteX3" fmla="*/ 1942538 w 1942794"/>
                  <a:gd name="connsiteY3" fmla="*/ 975550 h 1949095"/>
                  <a:gd name="connsiteX4" fmla="*/ 1938535 w 1942794"/>
                  <a:gd name="connsiteY4" fmla="*/ 1949095 h 1949095"/>
                  <a:gd name="connsiteX5" fmla="*/ 966494 w 1942794"/>
                  <a:gd name="connsiteY5" fmla="*/ 982133 h 1949095"/>
                  <a:gd name="connsiteX6" fmla="*/ 0 w 1942794"/>
                  <a:gd name="connsiteY6" fmla="*/ 7046 h 1949095"/>
                  <a:gd name="connsiteX7" fmla="*/ 479067 w 1942794"/>
                  <a:gd name="connsiteY7" fmla="*/ 4 h 1949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42794" h="1949095">
                    <a:moveTo>
                      <a:pt x="479067" y="4"/>
                    </a:moveTo>
                    <a:cubicBezTo>
                      <a:pt x="607806" y="-26"/>
                      <a:pt x="769140" y="144"/>
                      <a:pt x="970497" y="464"/>
                    </a:cubicBezTo>
                    <a:lnTo>
                      <a:pt x="1940995" y="2005"/>
                    </a:lnTo>
                    <a:lnTo>
                      <a:pt x="1942538" y="975550"/>
                    </a:lnTo>
                    <a:cubicBezTo>
                      <a:pt x="1943459" y="1557344"/>
                      <a:pt x="1941848" y="1949095"/>
                      <a:pt x="1938535" y="1949095"/>
                    </a:cubicBezTo>
                    <a:cubicBezTo>
                      <a:pt x="1935485" y="1949095"/>
                      <a:pt x="1498067" y="1513962"/>
                      <a:pt x="966494" y="982133"/>
                    </a:cubicBezTo>
                    <a:cubicBezTo>
                      <a:pt x="434923" y="450303"/>
                      <a:pt x="0" y="11515"/>
                      <a:pt x="0" y="7046"/>
                    </a:cubicBezTo>
                    <a:cubicBezTo>
                      <a:pt x="0" y="1989"/>
                      <a:pt x="92852" y="95"/>
                      <a:pt x="479067" y="4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43032152-601F-4CB0-97F2-7F0645EF2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ltGray">
              <a:xfrm>
                <a:off x="-5533678" y="2931370"/>
                <a:ext cx="2150576" cy="3240021"/>
              </a:xfrm>
              <a:custGeom>
                <a:avLst/>
                <a:gdLst>
                  <a:gd name="connsiteX0" fmla="*/ 6377 w 2150576"/>
                  <a:gd name="connsiteY0" fmla="*/ 133 h 3240021"/>
                  <a:gd name="connsiteX1" fmla="*/ 636700 w 2150576"/>
                  <a:gd name="connsiteY1" fmla="*/ 616296 h 3240021"/>
                  <a:gd name="connsiteX2" fmla="*/ 1051104 w 2150576"/>
                  <a:gd name="connsiteY2" fmla="*/ 1026317 h 3240021"/>
                  <a:gd name="connsiteX3" fmla="*/ 1614815 w 2150576"/>
                  <a:gd name="connsiteY3" fmla="*/ 1584287 h 3240021"/>
                  <a:gd name="connsiteX4" fmla="*/ 2141034 w 2150576"/>
                  <a:gd name="connsiteY4" fmla="*/ 2103385 h 3240021"/>
                  <a:gd name="connsiteX5" fmla="*/ 2149004 w 2150576"/>
                  <a:gd name="connsiteY5" fmla="*/ 2199611 h 3240021"/>
                  <a:gd name="connsiteX6" fmla="*/ 2136926 w 2150576"/>
                  <a:gd name="connsiteY6" fmla="*/ 2345517 h 3240021"/>
                  <a:gd name="connsiteX7" fmla="*/ 2095515 w 2150576"/>
                  <a:gd name="connsiteY7" fmla="*/ 2509044 h 3240021"/>
                  <a:gd name="connsiteX8" fmla="*/ 2090161 w 2150576"/>
                  <a:gd name="connsiteY8" fmla="*/ 2522530 h 3240021"/>
                  <a:gd name="connsiteX9" fmla="*/ 2004521 w 2150576"/>
                  <a:gd name="connsiteY9" fmla="*/ 2714215 h 3240021"/>
                  <a:gd name="connsiteX10" fmla="*/ 1988731 w 2150576"/>
                  <a:gd name="connsiteY10" fmla="*/ 2741638 h 3240021"/>
                  <a:gd name="connsiteX11" fmla="*/ 1964287 w 2150576"/>
                  <a:gd name="connsiteY11" fmla="*/ 2776182 h 3240021"/>
                  <a:gd name="connsiteX12" fmla="*/ 1943900 w 2150576"/>
                  <a:gd name="connsiteY12" fmla="*/ 2806025 h 3240021"/>
                  <a:gd name="connsiteX13" fmla="*/ 1664400 w 2150576"/>
                  <a:gd name="connsiteY13" fmla="*/ 3070724 h 3240021"/>
                  <a:gd name="connsiteX14" fmla="*/ 1656458 w 2150576"/>
                  <a:gd name="connsiteY14" fmla="*/ 3075535 h 3240021"/>
                  <a:gd name="connsiteX15" fmla="*/ 1541684 w 2150576"/>
                  <a:gd name="connsiteY15" fmla="*/ 3141878 h 3240021"/>
                  <a:gd name="connsiteX16" fmla="*/ 1435556 w 2150576"/>
                  <a:gd name="connsiteY16" fmla="*/ 3186512 h 3240021"/>
                  <a:gd name="connsiteX17" fmla="*/ 1415148 w 2150576"/>
                  <a:gd name="connsiteY17" fmla="*/ 3192582 h 3240021"/>
                  <a:gd name="connsiteX18" fmla="*/ 1252211 w 2150576"/>
                  <a:gd name="connsiteY18" fmla="*/ 3232582 h 3240021"/>
                  <a:gd name="connsiteX19" fmla="*/ 889608 w 2150576"/>
                  <a:gd name="connsiteY19" fmla="*/ 3232520 h 3240021"/>
                  <a:gd name="connsiteX20" fmla="*/ 889608 w 2150576"/>
                  <a:gd name="connsiteY20" fmla="*/ 3232549 h 3240021"/>
                  <a:gd name="connsiteX21" fmla="*/ 828666 w 2150576"/>
                  <a:gd name="connsiteY21" fmla="*/ 3221890 h 3240021"/>
                  <a:gd name="connsiteX22" fmla="*/ 776866 w 2150576"/>
                  <a:gd name="connsiteY22" fmla="*/ 3207676 h 3240021"/>
                  <a:gd name="connsiteX23" fmla="*/ 728417 w 2150576"/>
                  <a:gd name="connsiteY23" fmla="*/ 3191792 h 3240021"/>
                  <a:gd name="connsiteX24" fmla="*/ 714102 w 2150576"/>
                  <a:gd name="connsiteY24" fmla="*/ 3186512 h 3240021"/>
                  <a:gd name="connsiteX25" fmla="*/ 686374 w 2150576"/>
                  <a:gd name="connsiteY25" fmla="*/ 3178094 h 3240021"/>
                  <a:gd name="connsiteX26" fmla="*/ 642793 w 2150576"/>
                  <a:gd name="connsiteY26" fmla="*/ 3159335 h 3240021"/>
                  <a:gd name="connsiteX27" fmla="*/ 517868 w 2150576"/>
                  <a:gd name="connsiteY27" fmla="*/ 3095101 h 3240021"/>
                  <a:gd name="connsiteX28" fmla="*/ 498656 w 2150576"/>
                  <a:gd name="connsiteY28" fmla="*/ 3082912 h 3240021"/>
                  <a:gd name="connsiteX29" fmla="*/ 420356 w 2150576"/>
                  <a:gd name="connsiteY29" fmla="*/ 3026639 h 3240021"/>
                  <a:gd name="connsiteX30" fmla="*/ 414888 w 2150576"/>
                  <a:gd name="connsiteY30" fmla="*/ 3021971 h 3240021"/>
                  <a:gd name="connsiteX31" fmla="*/ 255813 w 2150576"/>
                  <a:gd name="connsiteY31" fmla="*/ 2871540 h 3240021"/>
                  <a:gd name="connsiteX32" fmla="*/ 249959 w 2150576"/>
                  <a:gd name="connsiteY32" fmla="*/ 2863521 h 3240021"/>
                  <a:gd name="connsiteX33" fmla="*/ 127836 w 2150576"/>
                  <a:gd name="connsiteY33" fmla="*/ 2687890 h 3240021"/>
                  <a:gd name="connsiteX34" fmla="*/ 123229 w 2150576"/>
                  <a:gd name="connsiteY34" fmla="*/ 2680697 h 3240021"/>
                  <a:gd name="connsiteX35" fmla="*/ 110343 w 2150576"/>
                  <a:gd name="connsiteY35" fmla="*/ 2660890 h 3240021"/>
                  <a:gd name="connsiteX36" fmla="*/ 90574 w 2150576"/>
                  <a:gd name="connsiteY36" fmla="*/ 2618043 h 3240021"/>
                  <a:gd name="connsiteX37" fmla="*/ 79083 w 2150576"/>
                  <a:gd name="connsiteY37" fmla="*/ 2583002 h 3240021"/>
                  <a:gd name="connsiteX38" fmla="*/ 73913 w 2150576"/>
                  <a:gd name="connsiteY38" fmla="*/ 2571002 h 3240021"/>
                  <a:gd name="connsiteX39" fmla="*/ 48611 w 2150576"/>
                  <a:gd name="connsiteY39" fmla="*/ 2500219 h 3240021"/>
                  <a:gd name="connsiteX40" fmla="*/ 43678 w 2150576"/>
                  <a:gd name="connsiteY40" fmla="*/ 2491778 h 3240021"/>
                  <a:gd name="connsiteX41" fmla="*/ 31317 w 2150576"/>
                  <a:gd name="connsiteY41" fmla="*/ 2453689 h 3240021"/>
                  <a:gd name="connsiteX42" fmla="*/ 18163 w 2150576"/>
                  <a:gd name="connsiteY42" fmla="*/ 2388177 h 3240021"/>
                  <a:gd name="connsiteX43" fmla="*/ 6608 w 2150576"/>
                  <a:gd name="connsiteY43" fmla="*/ 2327235 h 3240021"/>
                  <a:gd name="connsiteX44" fmla="*/ 6377 w 2150576"/>
                  <a:gd name="connsiteY44" fmla="*/ 133 h 3240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150576" h="3240021">
                    <a:moveTo>
                      <a:pt x="6377" y="133"/>
                    </a:moveTo>
                    <a:cubicBezTo>
                      <a:pt x="13282" y="-2169"/>
                      <a:pt x="34810" y="18874"/>
                      <a:pt x="636700" y="616296"/>
                    </a:cubicBezTo>
                    <a:cubicBezTo>
                      <a:pt x="837807" y="815911"/>
                      <a:pt x="1024289" y="1000420"/>
                      <a:pt x="1051104" y="1026317"/>
                    </a:cubicBezTo>
                    <a:cubicBezTo>
                      <a:pt x="1077918" y="1052214"/>
                      <a:pt x="1331588" y="1303300"/>
                      <a:pt x="1614815" y="1584287"/>
                    </a:cubicBezTo>
                    <a:cubicBezTo>
                      <a:pt x="1898042" y="1865274"/>
                      <a:pt x="2134840" y="2098868"/>
                      <a:pt x="2141034" y="2103385"/>
                    </a:cubicBezTo>
                    <a:cubicBezTo>
                      <a:pt x="2151367" y="2110922"/>
                      <a:pt x="2152023" y="2118856"/>
                      <a:pt x="2149004" y="2199611"/>
                    </a:cubicBezTo>
                    <a:cubicBezTo>
                      <a:pt x="2147192" y="2248017"/>
                      <a:pt x="2141758" y="2313676"/>
                      <a:pt x="2136926" y="2345517"/>
                    </a:cubicBezTo>
                    <a:cubicBezTo>
                      <a:pt x="2126596" y="2413587"/>
                      <a:pt x="2103157" y="2506144"/>
                      <a:pt x="2095515" y="2509044"/>
                    </a:cubicBezTo>
                    <a:cubicBezTo>
                      <a:pt x="2092570" y="2510162"/>
                      <a:pt x="2090161" y="2516230"/>
                      <a:pt x="2090161" y="2522530"/>
                    </a:cubicBezTo>
                    <a:cubicBezTo>
                      <a:pt x="2090161" y="2543734"/>
                      <a:pt x="2035701" y="2665630"/>
                      <a:pt x="2004521" y="2714215"/>
                    </a:cubicBezTo>
                    <a:cubicBezTo>
                      <a:pt x="1998068" y="2724269"/>
                      <a:pt x="1990962" y="2736610"/>
                      <a:pt x="1988731" y="2741638"/>
                    </a:cubicBezTo>
                    <a:cubicBezTo>
                      <a:pt x="1986499" y="2746665"/>
                      <a:pt x="1975501" y="2762210"/>
                      <a:pt x="1964287" y="2776182"/>
                    </a:cubicBezTo>
                    <a:cubicBezTo>
                      <a:pt x="1953075" y="2790154"/>
                      <a:pt x="1943900" y="2803582"/>
                      <a:pt x="1943900" y="2806025"/>
                    </a:cubicBezTo>
                    <a:cubicBezTo>
                      <a:pt x="1943900" y="2833988"/>
                      <a:pt x="1693927" y="3070724"/>
                      <a:pt x="1664400" y="3070724"/>
                    </a:cubicBezTo>
                    <a:cubicBezTo>
                      <a:pt x="1661150" y="3070724"/>
                      <a:pt x="1657575" y="3072889"/>
                      <a:pt x="1656458" y="3075535"/>
                    </a:cubicBezTo>
                    <a:cubicBezTo>
                      <a:pt x="1653301" y="3083012"/>
                      <a:pt x="1598752" y="3114544"/>
                      <a:pt x="1541684" y="3141878"/>
                    </a:cubicBezTo>
                    <a:cubicBezTo>
                      <a:pt x="1464033" y="3179072"/>
                      <a:pt x="1446341" y="3186512"/>
                      <a:pt x="1435556" y="3186512"/>
                    </a:cubicBezTo>
                    <a:cubicBezTo>
                      <a:pt x="1430153" y="3186512"/>
                      <a:pt x="1420968" y="3189244"/>
                      <a:pt x="1415148" y="3192582"/>
                    </a:cubicBezTo>
                    <a:cubicBezTo>
                      <a:pt x="1394728" y="3204292"/>
                      <a:pt x="1312559" y="3224464"/>
                      <a:pt x="1252211" y="3232582"/>
                    </a:cubicBezTo>
                    <a:cubicBezTo>
                      <a:pt x="1178312" y="3242521"/>
                      <a:pt x="962769" y="3242502"/>
                      <a:pt x="889608" y="3232520"/>
                    </a:cubicBezTo>
                    <a:lnTo>
                      <a:pt x="889608" y="3232549"/>
                    </a:lnTo>
                    <a:cubicBezTo>
                      <a:pt x="861118" y="3228673"/>
                      <a:pt x="833693" y="3223877"/>
                      <a:pt x="828666" y="3221890"/>
                    </a:cubicBezTo>
                    <a:cubicBezTo>
                      <a:pt x="823638" y="3219904"/>
                      <a:pt x="800328" y="3213507"/>
                      <a:pt x="776866" y="3207676"/>
                    </a:cubicBezTo>
                    <a:cubicBezTo>
                      <a:pt x="753403" y="3201843"/>
                      <a:pt x="731601" y="3194695"/>
                      <a:pt x="728417" y="3191792"/>
                    </a:cubicBezTo>
                    <a:cubicBezTo>
                      <a:pt x="725233" y="3188888"/>
                      <a:pt x="718791" y="3186512"/>
                      <a:pt x="714102" y="3186512"/>
                    </a:cubicBezTo>
                    <a:cubicBezTo>
                      <a:pt x="709414" y="3186512"/>
                      <a:pt x="696936" y="3182725"/>
                      <a:pt x="686374" y="3178094"/>
                    </a:cubicBezTo>
                    <a:cubicBezTo>
                      <a:pt x="675812" y="3173465"/>
                      <a:pt x="656201" y="3165023"/>
                      <a:pt x="642793" y="3159335"/>
                    </a:cubicBezTo>
                    <a:cubicBezTo>
                      <a:pt x="606608" y="3143985"/>
                      <a:pt x="524590" y="3101813"/>
                      <a:pt x="517868" y="3095101"/>
                    </a:cubicBezTo>
                    <a:cubicBezTo>
                      <a:pt x="516189" y="3093424"/>
                      <a:pt x="507544" y="3087939"/>
                      <a:pt x="498656" y="3082912"/>
                    </a:cubicBezTo>
                    <a:cubicBezTo>
                      <a:pt x="468160" y="3065661"/>
                      <a:pt x="420356" y="3031305"/>
                      <a:pt x="420356" y="3026639"/>
                    </a:cubicBezTo>
                    <a:cubicBezTo>
                      <a:pt x="420356" y="3024071"/>
                      <a:pt x="417896" y="3021971"/>
                      <a:pt x="414888" y="3021971"/>
                    </a:cubicBezTo>
                    <a:cubicBezTo>
                      <a:pt x="401456" y="3021971"/>
                      <a:pt x="255813" y="2884241"/>
                      <a:pt x="255813" y="2871540"/>
                    </a:cubicBezTo>
                    <a:cubicBezTo>
                      <a:pt x="255813" y="2867129"/>
                      <a:pt x="253178" y="2863521"/>
                      <a:pt x="249959" y="2863521"/>
                    </a:cubicBezTo>
                    <a:cubicBezTo>
                      <a:pt x="239140" y="2863521"/>
                      <a:pt x="127836" y="2703448"/>
                      <a:pt x="127836" y="2687890"/>
                    </a:cubicBezTo>
                    <a:cubicBezTo>
                      <a:pt x="127836" y="2683934"/>
                      <a:pt x="125763" y="2680697"/>
                      <a:pt x="123229" y="2680697"/>
                    </a:cubicBezTo>
                    <a:cubicBezTo>
                      <a:pt x="120696" y="2680697"/>
                      <a:pt x="114897" y="2671784"/>
                      <a:pt x="110343" y="2660890"/>
                    </a:cubicBezTo>
                    <a:cubicBezTo>
                      <a:pt x="105790" y="2649998"/>
                      <a:pt x="96894" y="2630716"/>
                      <a:pt x="90574" y="2618043"/>
                    </a:cubicBezTo>
                    <a:cubicBezTo>
                      <a:pt x="84253" y="2605372"/>
                      <a:pt x="79083" y="2589603"/>
                      <a:pt x="79083" y="2583002"/>
                    </a:cubicBezTo>
                    <a:cubicBezTo>
                      <a:pt x="79083" y="2576402"/>
                      <a:pt x="76757" y="2571002"/>
                      <a:pt x="73913" y="2571002"/>
                    </a:cubicBezTo>
                    <a:cubicBezTo>
                      <a:pt x="68572" y="2571002"/>
                      <a:pt x="48611" y="2515163"/>
                      <a:pt x="48611" y="2500219"/>
                    </a:cubicBezTo>
                    <a:cubicBezTo>
                      <a:pt x="48611" y="2495576"/>
                      <a:pt x="46391" y="2491778"/>
                      <a:pt x="43678" y="2491778"/>
                    </a:cubicBezTo>
                    <a:cubicBezTo>
                      <a:pt x="40964" y="2491778"/>
                      <a:pt x="35402" y="2474638"/>
                      <a:pt x="31317" y="2453689"/>
                    </a:cubicBezTo>
                    <a:cubicBezTo>
                      <a:pt x="27232" y="2432740"/>
                      <a:pt x="21314" y="2403259"/>
                      <a:pt x="18163" y="2388177"/>
                    </a:cubicBezTo>
                    <a:cubicBezTo>
                      <a:pt x="15014" y="2373093"/>
                      <a:pt x="9814" y="2345670"/>
                      <a:pt x="6608" y="2327235"/>
                    </a:cubicBezTo>
                    <a:cubicBezTo>
                      <a:pt x="-2049" y="2277457"/>
                      <a:pt x="-2275" y="3018"/>
                      <a:pt x="6377" y="133"/>
                    </a:cubicBezTo>
                    <a:close/>
                  </a:path>
                </a:pathLst>
              </a:cu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21B776C-A255-4DB5-87C5-216F315264EC}"/>
                </a:ext>
              </a:extLst>
            </p:cNvPr>
            <p:cNvSpPr/>
            <p:nvPr/>
          </p:nvSpPr>
          <p:spPr bwMode="ltGray">
            <a:xfrm>
              <a:off x="8224347" y="3592176"/>
              <a:ext cx="2150575" cy="3240020"/>
            </a:xfrm>
            <a:custGeom>
              <a:avLst/>
              <a:gdLst>
                <a:gd name="connsiteX0" fmla="*/ 896247 w 2166626"/>
                <a:gd name="connsiteY0" fmla="*/ 3256674 h 3264202"/>
                <a:gd name="connsiteX1" fmla="*/ 834850 w 2166626"/>
                <a:gd name="connsiteY1" fmla="*/ 3245936 h 3264202"/>
                <a:gd name="connsiteX2" fmla="*/ 782663 w 2166626"/>
                <a:gd name="connsiteY2" fmla="*/ 3231615 h 3264202"/>
                <a:gd name="connsiteX3" fmla="*/ 733853 w 2166626"/>
                <a:gd name="connsiteY3" fmla="*/ 3215613 h 3264202"/>
                <a:gd name="connsiteX4" fmla="*/ 719431 w 2166626"/>
                <a:gd name="connsiteY4" fmla="*/ 3210294 h 3264202"/>
                <a:gd name="connsiteX5" fmla="*/ 691496 w 2166626"/>
                <a:gd name="connsiteY5" fmla="*/ 3201813 h 3264202"/>
                <a:gd name="connsiteX6" fmla="*/ 647590 w 2166626"/>
                <a:gd name="connsiteY6" fmla="*/ 3182914 h 3264202"/>
                <a:gd name="connsiteX7" fmla="*/ 521732 w 2166626"/>
                <a:gd name="connsiteY7" fmla="*/ 3118200 h 3264202"/>
                <a:gd name="connsiteX8" fmla="*/ 502377 w 2166626"/>
                <a:gd name="connsiteY8" fmla="*/ 3105920 h 3264202"/>
                <a:gd name="connsiteX9" fmla="*/ 423493 w 2166626"/>
                <a:gd name="connsiteY9" fmla="*/ 3049227 h 3264202"/>
                <a:gd name="connsiteX10" fmla="*/ 417984 w 2166626"/>
                <a:gd name="connsiteY10" fmla="*/ 3044524 h 3264202"/>
                <a:gd name="connsiteX11" fmla="*/ 257722 w 2166626"/>
                <a:gd name="connsiteY11" fmla="*/ 2892971 h 3264202"/>
                <a:gd name="connsiteX12" fmla="*/ 251824 w 2166626"/>
                <a:gd name="connsiteY12" fmla="*/ 2884892 h 3264202"/>
                <a:gd name="connsiteX13" fmla="*/ 128789 w 2166626"/>
                <a:gd name="connsiteY13" fmla="*/ 2707950 h 3264202"/>
                <a:gd name="connsiteX14" fmla="*/ 124148 w 2166626"/>
                <a:gd name="connsiteY14" fmla="*/ 2700703 h 3264202"/>
                <a:gd name="connsiteX15" fmla="*/ 111166 w 2166626"/>
                <a:gd name="connsiteY15" fmla="*/ 2680749 h 3264202"/>
                <a:gd name="connsiteX16" fmla="*/ 91249 w 2166626"/>
                <a:gd name="connsiteY16" fmla="*/ 2637582 h 3264202"/>
                <a:gd name="connsiteX17" fmla="*/ 79672 w 2166626"/>
                <a:gd name="connsiteY17" fmla="*/ 2602279 h 3264202"/>
                <a:gd name="connsiteX18" fmla="*/ 74464 w 2166626"/>
                <a:gd name="connsiteY18" fmla="*/ 2590190 h 3264202"/>
                <a:gd name="connsiteX19" fmla="*/ 48973 w 2166626"/>
                <a:gd name="connsiteY19" fmla="*/ 2518878 h 3264202"/>
                <a:gd name="connsiteX20" fmla="*/ 44003 w 2166626"/>
                <a:gd name="connsiteY20" fmla="*/ 2510374 h 3264202"/>
                <a:gd name="connsiteX21" fmla="*/ 31550 w 2166626"/>
                <a:gd name="connsiteY21" fmla="*/ 2472001 h 3264202"/>
                <a:gd name="connsiteX22" fmla="*/ 18298 w 2166626"/>
                <a:gd name="connsiteY22" fmla="*/ 2406000 h 3264202"/>
                <a:gd name="connsiteX23" fmla="*/ 6657 w 2166626"/>
                <a:gd name="connsiteY23" fmla="*/ 2344603 h 3264202"/>
                <a:gd name="connsiteX24" fmla="*/ 6424 w 2166626"/>
                <a:gd name="connsiteY24" fmla="*/ 133 h 3264202"/>
                <a:gd name="connsiteX25" fmla="*/ 641451 w 2166626"/>
                <a:gd name="connsiteY25" fmla="*/ 620895 h 3264202"/>
                <a:gd name="connsiteX26" fmla="*/ 1058948 w 2166626"/>
                <a:gd name="connsiteY26" fmla="*/ 1033976 h 3264202"/>
                <a:gd name="connsiteX27" fmla="*/ 1626866 w 2166626"/>
                <a:gd name="connsiteY27" fmla="*/ 1596110 h 3264202"/>
                <a:gd name="connsiteX28" fmla="*/ 2157013 w 2166626"/>
                <a:gd name="connsiteY28" fmla="*/ 2119083 h 3264202"/>
                <a:gd name="connsiteX29" fmla="*/ 2165042 w 2166626"/>
                <a:gd name="connsiteY29" fmla="*/ 2216027 h 3264202"/>
                <a:gd name="connsiteX30" fmla="*/ 2152874 w 2166626"/>
                <a:gd name="connsiteY30" fmla="*/ 2363022 h 3264202"/>
                <a:gd name="connsiteX31" fmla="*/ 2111154 w 2166626"/>
                <a:gd name="connsiteY31" fmla="*/ 2527769 h 3264202"/>
                <a:gd name="connsiteX32" fmla="*/ 2105760 w 2166626"/>
                <a:gd name="connsiteY32" fmla="*/ 2541356 h 3264202"/>
                <a:gd name="connsiteX33" fmla="*/ 2019481 w 2166626"/>
                <a:gd name="connsiteY33" fmla="*/ 2734471 h 3264202"/>
                <a:gd name="connsiteX34" fmla="*/ 2003573 w 2166626"/>
                <a:gd name="connsiteY34" fmla="*/ 2762099 h 3264202"/>
                <a:gd name="connsiteX35" fmla="*/ 1978947 w 2166626"/>
                <a:gd name="connsiteY35" fmla="*/ 2796901 h 3264202"/>
                <a:gd name="connsiteX36" fmla="*/ 1958408 w 2166626"/>
                <a:gd name="connsiteY36" fmla="*/ 2826967 h 3264202"/>
                <a:gd name="connsiteX37" fmla="*/ 1676822 w 2166626"/>
                <a:gd name="connsiteY37" fmla="*/ 3093641 h 3264202"/>
                <a:gd name="connsiteX38" fmla="*/ 1668820 w 2166626"/>
                <a:gd name="connsiteY38" fmla="*/ 3098488 h 3264202"/>
                <a:gd name="connsiteX39" fmla="*/ 1553190 w 2166626"/>
                <a:gd name="connsiteY39" fmla="*/ 3165326 h 3264202"/>
                <a:gd name="connsiteX40" fmla="*/ 1446270 w 2166626"/>
                <a:gd name="connsiteY40" fmla="*/ 3210294 h 3264202"/>
                <a:gd name="connsiteX41" fmla="*/ 1425709 w 2166626"/>
                <a:gd name="connsiteY41" fmla="*/ 3216409 h 3264202"/>
                <a:gd name="connsiteX42" fmla="*/ 1261556 w 2166626"/>
                <a:gd name="connsiteY42" fmla="*/ 3256707 h 3264202"/>
                <a:gd name="connsiteX43" fmla="*/ 896247 w 2166626"/>
                <a:gd name="connsiteY43" fmla="*/ 3256645 h 326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66626" h="3264202">
                  <a:moveTo>
                    <a:pt x="896247" y="3256674"/>
                  </a:moveTo>
                  <a:cubicBezTo>
                    <a:pt x="867544" y="3252769"/>
                    <a:pt x="839915" y="3247937"/>
                    <a:pt x="834850" y="3245936"/>
                  </a:cubicBezTo>
                  <a:cubicBezTo>
                    <a:pt x="829785" y="3243935"/>
                    <a:pt x="806301" y="3237490"/>
                    <a:pt x="782663" y="3231615"/>
                  </a:cubicBezTo>
                  <a:cubicBezTo>
                    <a:pt x="759025" y="3225739"/>
                    <a:pt x="737061" y="3218538"/>
                    <a:pt x="733853" y="3215613"/>
                  </a:cubicBezTo>
                  <a:cubicBezTo>
                    <a:pt x="730645" y="3212687"/>
                    <a:pt x="724155" y="3210294"/>
                    <a:pt x="719431" y="3210294"/>
                  </a:cubicBezTo>
                  <a:cubicBezTo>
                    <a:pt x="714708" y="3210294"/>
                    <a:pt x="702137" y="3206478"/>
                    <a:pt x="691496" y="3201813"/>
                  </a:cubicBezTo>
                  <a:cubicBezTo>
                    <a:pt x="680855" y="3197149"/>
                    <a:pt x="661098" y="3188644"/>
                    <a:pt x="647590" y="3182914"/>
                  </a:cubicBezTo>
                  <a:cubicBezTo>
                    <a:pt x="611135" y="3167449"/>
                    <a:pt x="528505" y="3124962"/>
                    <a:pt x="521732" y="3118200"/>
                  </a:cubicBezTo>
                  <a:cubicBezTo>
                    <a:pt x="520041" y="3116511"/>
                    <a:pt x="511331" y="3110985"/>
                    <a:pt x="502377" y="3105920"/>
                  </a:cubicBezTo>
                  <a:cubicBezTo>
                    <a:pt x="471653" y="3088541"/>
                    <a:pt x="423493" y="3053928"/>
                    <a:pt x="423493" y="3049227"/>
                  </a:cubicBezTo>
                  <a:cubicBezTo>
                    <a:pt x="423493" y="3046640"/>
                    <a:pt x="421014" y="3044524"/>
                    <a:pt x="417984" y="3044524"/>
                  </a:cubicBezTo>
                  <a:cubicBezTo>
                    <a:pt x="404452" y="3044524"/>
                    <a:pt x="257722" y="2905767"/>
                    <a:pt x="257722" y="2892971"/>
                  </a:cubicBezTo>
                  <a:cubicBezTo>
                    <a:pt x="257722" y="2888527"/>
                    <a:pt x="255067" y="2884892"/>
                    <a:pt x="251824" y="2884892"/>
                  </a:cubicBezTo>
                  <a:cubicBezTo>
                    <a:pt x="240924" y="2884892"/>
                    <a:pt x="128789" y="2723624"/>
                    <a:pt x="128789" y="2707950"/>
                  </a:cubicBezTo>
                  <a:cubicBezTo>
                    <a:pt x="128789" y="2703964"/>
                    <a:pt x="126701" y="2700703"/>
                    <a:pt x="124148" y="2700703"/>
                  </a:cubicBezTo>
                  <a:cubicBezTo>
                    <a:pt x="121596" y="2700703"/>
                    <a:pt x="115754" y="2691724"/>
                    <a:pt x="111166" y="2680749"/>
                  </a:cubicBezTo>
                  <a:cubicBezTo>
                    <a:pt x="106579" y="2669775"/>
                    <a:pt x="97616" y="2650349"/>
                    <a:pt x="91249" y="2637582"/>
                  </a:cubicBezTo>
                  <a:cubicBezTo>
                    <a:pt x="84881" y="2624816"/>
                    <a:pt x="79672" y="2608929"/>
                    <a:pt x="79672" y="2602279"/>
                  </a:cubicBezTo>
                  <a:cubicBezTo>
                    <a:pt x="79672" y="2595630"/>
                    <a:pt x="77329" y="2590190"/>
                    <a:pt x="74464" y="2590190"/>
                  </a:cubicBezTo>
                  <a:cubicBezTo>
                    <a:pt x="69083" y="2590190"/>
                    <a:pt x="48973" y="2533934"/>
                    <a:pt x="48973" y="2518878"/>
                  </a:cubicBezTo>
                  <a:cubicBezTo>
                    <a:pt x="48973" y="2514201"/>
                    <a:pt x="46736" y="2510374"/>
                    <a:pt x="44003" y="2510374"/>
                  </a:cubicBezTo>
                  <a:cubicBezTo>
                    <a:pt x="41269" y="2510374"/>
                    <a:pt x="35665" y="2493106"/>
                    <a:pt x="31550" y="2472001"/>
                  </a:cubicBezTo>
                  <a:cubicBezTo>
                    <a:pt x="27434" y="2450896"/>
                    <a:pt x="21472" y="2421195"/>
                    <a:pt x="18298" y="2406000"/>
                  </a:cubicBezTo>
                  <a:cubicBezTo>
                    <a:pt x="15125" y="2390804"/>
                    <a:pt x="9886" y="2363176"/>
                    <a:pt x="6657" y="2344603"/>
                  </a:cubicBezTo>
                  <a:cubicBezTo>
                    <a:pt x="-2065" y="2294454"/>
                    <a:pt x="-2293" y="3039"/>
                    <a:pt x="6424" y="133"/>
                  </a:cubicBezTo>
                  <a:cubicBezTo>
                    <a:pt x="13380" y="-2186"/>
                    <a:pt x="35069" y="19014"/>
                    <a:pt x="641451" y="620895"/>
                  </a:cubicBezTo>
                  <a:cubicBezTo>
                    <a:pt x="844059" y="821999"/>
                    <a:pt x="1031933" y="1007886"/>
                    <a:pt x="1058948" y="1033976"/>
                  </a:cubicBezTo>
                  <a:cubicBezTo>
                    <a:pt x="1085962" y="1060066"/>
                    <a:pt x="1341526" y="1313026"/>
                    <a:pt x="1626866" y="1596110"/>
                  </a:cubicBezTo>
                  <a:cubicBezTo>
                    <a:pt x="1912207" y="1879194"/>
                    <a:pt x="2150773" y="2114532"/>
                    <a:pt x="2157013" y="2119083"/>
                  </a:cubicBezTo>
                  <a:cubicBezTo>
                    <a:pt x="2167423" y="2126676"/>
                    <a:pt x="2168084" y="2134669"/>
                    <a:pt x="2165042" y="2216027"/>
                  </a:cubicBezTo>
                  <a:cubicBezTo>
                    <a:pt x="2163217" y="2264794"/>
                    <a:pt x="2157742" y="2330943"/>
                    <a:pt x="2152874" y="2363022"/>
                  </a:cubicBezTo>
                  <a:cubicBezTo>
                    <a:pt x="2142467" y="2431600"/>
                    <a:pt x="2118853" y="2524848"/>
                    <a:pt x="2111154" y="2527769"/>
                  </a:cubicBezTo>
                  <a:cubicBezTo>
                    <a:pt x="2108187" y="2528896"/>
                    <a:pt x="2105760" y="2535009"/>
                    <a:pt x="2105760" y="2541356"/>
                  </a:cubicBezTo>
                  <a:cubicBezTo>
                    <a:pt x="2105760" y="2562718"/>
                    <a:pt x="2050894" y="2685524"/>
                    <a:pt x="2019481" y="2734471"/>
                  </a:cubicBezTo>
                  <a:cubicBezTo>
                    <a:pt x="2012980" y="2744601"/>
                    <a:pt x="2005821" y="2757034"/>
                    <a:pt x="2003573" y="2762099"/>
                  </a:cubicBezTo>
                  <a:cubicBezTo>
                    <a:pt x="2001325" y="2767164"/>
                    <a:pt x="1990244" y="2782825"/>
                    <a:pt x="1978947" y="2796901"/>
                  </a:cubicBezTo>
                  <a:cubicBezTo>
                    <a:pt x="1967651" y="2810977"/>
                    <a:pt x="1958408" y="2824506"/>
                    <a:pt x="1958408" y="2826967"/>
                  </a:cubicBezTo>
                  <a:cubicBezTo>
                    <a:pt x="1958408" y="2855138"/>
                    <a:pt x="1706569" y="3093641"/>
                    <a:pt x="1676822" y="3093641"/>
                  </a:cubicBezTo>
                  <a:cubicBezTo>
                    <a:pt x="1673547" y="3093641"/>
                    <a:pt x="1669946" y="3095822"/>
                    <a:pt x="1668820" y="3098488"/>
                  </a:cubicBezTo>
                  <a:cubicBezTo>
                    <a:pt x="1665640" y="3106021"/>
                    <a:pt x="1610684" y="3137788"/>
                    <a:pt x="1553190" y="3165326"/>
                  </a:cubicBezTo>
                  <a:cubicBezTo>
                    <a:pt x="1474959" y="3202798"/>
                    <a:pt x="1457135" y="3210294"/>
                    <a:pt x="1446270" y="3210294"/>
                  </a:cubicBezTo>
                  <a:cubicBezTo>
                    <a:pt x="1440826" y="3210294"/>
                    <a:pt x="1431573" y="3213046"/>
                    <a:pt x="1425709" y="3216409"/>
                  </a:cubicBezTo>
                  <a:cubicBezTo>
                    <a:pt x="1405137" y="3228206"/>
                    <a:pt x="1322355" y="3248529"/>
                    <a:pt x="1261556" y="3256707"/>
                  </a:cubicBezTo>
                  <a:cubicBezTo>
                    <a:pt x="1187106" y="3266721"/>
                    <a:pt x="969954" y="3266701"/>
                    <a:pt x="896247" y="3256645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ACD7E31-480C-48CD-B20F-FC2D72107278}"/>
                </a:ext>
              </a:extLst>
            </p:cNvPr>
            <p:cNvSpPr/>
            <p:nvPr/>
          </p:nvSpPr>
          <p:spPr bwMode="ltGray">
            <a:xfrm>
              <a:off x="10479049" y="3530493"/>
              <a:ext cx="1674822" cy="2401637"/>
            </a:xfrm>
            <a:custGeom>
              <a:avLst/>
              <a:gdLst>
                <a:gd name="connsiteX0" fmla="*/ 588675 w 1687322"/>
                <a:gd name="connsiteY0" fmla="*/ 2416247 h 2419562"/>
                <a:gd name="connsiteX1" fmla="*/ 552349 w 1687322"/>
                <a:gd name="connsiteY1" fmla="*/ 2407607 h 2419562"/>
                <a:gd name="connsiteX2" fmla="*/ 432846 w 1687322"/>
                <a:gd name="connsiteY2" fmla="*/ 2382216 h 2419562"/>
                <a:gd name="connsiteX3" fmla="*/ 402148 w 1687322"/>
                <a:gd name="connsiteY3" fmla="*/ 2373230 h 2419562"/>
                <a:gd name="connsiteX4" fmla="*/ 371449 w 1687322"/>
                <a:gd name="connsiteY4" fmla="*/ 2364083 h 2419562"/>
                <a:gd name="connsiteX5" fmla="*/ 334611 w 1687322"/>
                <a:gd name="connsiteY5" fmla="*/ 2348079 h 2419562"/>
                <a:gd name="connsiteX6" fmla="*/ 116716 w 1687322"/>
                <a:gd name="connsiteY6" fmla="*/ 2224255 h 2419562"/>
                <a:gd name="connsiteX7" fmla="*/ 96949 w 1687322"/>
                <a:gd name="connsiteY7" fmla="*/ 2210278 h 2419562"/>
                <a:gd name="connsiteX8" fmla="*/ 11157 w 1687322"/>
                <a:gd name="connsiteY8" fmla="*/ 2135067 h 2419562"/>
                <a:gd name="connsiteX9" fmla="*/ 0 w 1687322"/>
                <a:gd name="connsiteY9" fmla="*/ 1071873 h 2419562"/>
                <a:gd name="connsiteX10" fmla="*/ 3727 w 1687322"/>
                <a:gd name="connsiteY10" fmla="*/ 9712 h 2419562"/>
                <a:gd name="connsiteX11" fmla="*/ 336954 w 1687322"/>
                <a:gd name="connsiteY11" fmla="*/ 0 h 2419562"/>
                <a:gd name="connsiteX12" fmla="*/ 666454 w 1687322"/>
                <a:gd name="connsiteY12" fmla="*/ 0 h 2419562"/>
                <a:gd name="connsiteX13" fmla="*/ 1068760 w 1687322"/>
                <a:gd name="connsiteY13" fmla="*/ 403683 h 2419562"/>
                <a:gd name="connsiteX14" fmla="*/ 1509074 w 1687322"/>
                <a:gd name="connsiteY14" fmla="*/ 862622 h 2419562"/>
                <a:gd name="connsiteX15" fmla="*/ 1551939 w 1687322"/>
                <a:gd name="connsiteY15" fmla="*/ 924019 h 2419562"/>
                <a:gd name="connsiteX16" fmla="*/ 1620908 w 1687322"/>
                <a:gd name="connsiteY16" fmla="*/ 1064159 h 2419562"/>
                <a:gd name="connsiteX17" fmla="*/ 1628876 w 1687322"/>
                <a:gd name="connsiteY17" fmla="*/ 1086720 h 2419562"/>
                <a:gd name="connsiteX18" fmla="*/ 1679444 w 1687322"/>
                <a:gd name="connsiteY18" fmla="*/ 1277049 h 2419562"/>
                <a:gd name="connsiteX19" fmla="*/ 1674299 w 1687322"/>
                <a:gd name="connsiteY19" fmla="*/ 1611661 h 2419562"/>
                <a:gd name="connsiteX20" fmla="*/ 1633587 w 1687322"/>
                <a:gd name="connsiteY20" fmla="*/ 1758877 h 2419562"/>
                <a:gd name="connsiteX21" fmla="*/ 1624629 w 1687322"/>
                <a:gd name="connsiteY21" fmla="*/ 1782197 h 2419562"/>
                <a:gd name="connsiteX22" fmla="*/ 1531058 w 1687322"/>
                <a:gd name="connsiteY22" fmla="*/ 1965175 h 2419562"/>
                <a:gd name="connsiteX23" fmla="*/ 1522636 w 1687322"/>
                <a:gd name="connsiteY23" fmla="*/ 1980703 h 2419562"/>
                <a:gd name="connsiteX24" fmla="*/ 1510356 w 1687322"/>
                <a:gd name="connsiteY24" fmla="*/ 1995389 h 2419562"/>
                <a:gd name="connsiteX25" fmla="*/ 1498077 w 1687322"/>
                <a:gd name="connsiteY25" fmla="*/ 2011071 h 2419562"/>
                <a:gd name="connsiteX26" fmla="*/ 1479829 w 1687322"/>
                <a:gd name="connsiteY26" fmla="*/ 2035809 h 2419562"/>
                <a:gd name="connsiteX27" fmla="*/ 1461410 w 1687322"/>
                <a:gd name="connsiteY27" fmla="*/ 2058846 h 2419562"/>
                <a:gd name="connsiteX28" fmla="*/ 1270760 w 1687322"/>
                <a:gd name="connsiteY28" fmla="*/ 2234837 h 2419562"/>
                <a:gd name="connsiteX29" fmla="*/ 1240844 w 1687322"/>
                <a:gd name="connsiteY29" fmla="*/ 2256325 h 2419562"/>
                <a:gd name="connsiteX30" fmla="*/ 1212534 w 1687322"/>
                <a:gd name="connsiteY30" fmla="*/ 2276010 h 2419562"/>
                <a:gd name="connsiteX31" fmla="*/ 1056022 w 1687322"/>
                <a:gd name="connsiteY31" fmla="*/ 2353036 h 2419562"/>
                <a:gd name="connsiteX32" fmla="*/ 1029793 w 1687322"/>
                <a:gd name="connsiteY32" fmla="*/ 2364622 h 2419562"/>
                <a:gd name="connsiteX33" fmla="*/ 991421 w 1687322"/>
                <a:gd name="connsiteY33" fmla="*/ 2373949 h 2419562"/>
                <a:gd name="connsiteX34" fmla="*/ 963927 w 1687322"/>
                <a:gd name="connsiteY34" fmla="*/ 2382115 h 2419562"/>
                <a:gd name="connsiteX35" fmla="*/ 925554 w 1687322"/>
                <a:gd name="connsiteY35" fmla="*/ 2393433 h 2419562"/>
                <a:gd name="connsiteX36" fmla="*/ 838064 w 1687322"/>
                <a:gd name="connsiteY36" fmla="*/ 2409568 h 2419562"/>
                <a:gd name="connsiteX37" fmla="*/ 588675 w 1687322"/>
                <a:gd name="connsiteY37" fmla="*/ 2416247 h 241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687322" h="2419562">
                  <a:moveTo>
                    <a:pt x="588675" y="2416247"/>
                  </a:moveTo>
                  <a:cubicBezTo>
                    <a:pt x="587147" y="2414719"/>
                    <a:pt x="570800" y="2410831"/>
                    <a:pt x="552349" y="2407607"/>
                  </a:cubicBezTo>
                  <a:cubicBezTo>
                    <a:pt x="471623" y="2393501"/>
                    <a:pt x="438580" y="2386480"/>
                    <a:pt x="432846" y="2382216"/>
                  </a:cubicBezTo>
                  <a:cubicBezTo>
                    <a:pt x="429469" y="2379704"/>
                    <a:pt x="415655" y="2375661"/>
                    <a:pt x="402148" y="2373230"/>
                  </a:cubicBezTo>
                  <a:cubicBezTo>
                    <a:pt x="388640" y="2370800"/>
                    <a:pt x="374826" y="2366683"/>
                    <a:pt x="371449" y="2364083"/>
                  </a:cubicBezTo>
                  <a:cubicBezTo>
                    <a:pt x="368072" y="2361482"/>
                    <a:pt x="351496" y="2354281"/>
                    <a:pt x="334611" y="2348079"/>
                  </a:cubicBezTo>
                  <a:cubicBezTo>
                    <a:pt x="275433" y="2326342"/>
                    <a:pt x="151078" y="2255675"/>
                    <a:pt x="116716" y="2224255"/>
                  </a:cubicBezTo>
                  <a:cubicBezTo>
                    <a:pt x="108309" y="2216567"/>
                    <a:pt x="99413" y="2210278"/>
                    <a:pt x="96949" y="2210278"/>
                  </a:cubicBezTo>
                  <a:cubicBezTo>
                    <a:pt x="93130" y="2210278"/>
                    <a:pt x="49924" y="2172401"/>
                    <a:pt x="11157" y="2135067"/>
                  </a:cubicBezTo>
                  <a:cubicBezTo>
                    <a:pt x="459" y="2124765"/>
                    <a:pt x="0" y="2080998"/>
                    <a:pt x="0" y="1071873"/>
                  </a:cubicBezTo>
                  <a:cubicBezTo>
                    <a:pt x="0" y="493025"/>
                    <a:pt x="1677" y="15053"/>
                    <a:pt x="3727" y="9712"/>
                  </a:cubicBezTo>
                  <a:cubicBezTo>
                    <a:pt x="7061" y="1023"/>
                    <a:pt x="42156" y="0"/>
                    <a:pt x="336954" y="0"/>
                  </a:cubicBezTo>
                  <a:lnTo>
                    <a:pt x="666454" y="0"/>
                  </a:lnTo>
                  <a:lnTo>
                    <a:pt x="1068760" y="403683"/>
                  </a:lnTo>
                  <a:cubicBezTo>
                    <a:pt x="1390142" y="726165"/>
                    <a:pt x="1478711" y="818480"/>
                    <a:pt x="1509074" y="862622"/>
                  </a:cubicBezTo>
                  <a:cubicBezTo>
                    <a:pt x="1529979" y="893014"/>
                    <a:pt x="1549268" y="920642"/>
                    <a:pt x="1551939" y="924019"/>
                  </a:cubicBezTo>
                  <a:cubicBezTo>
                    <a:pt x="1561193" y="935720"/>
                    <a:pt x="1620870" y="1056980"/>
                    <a:pt x="1620908" y="1064159"/>
                  </a:cubicBezTo>
                  <a:cubicBezTo>
                    <a:pt x="1620908" y="1068125"/>
                    <a:pt x="1624514" y="1078278"/>
                    <a:pt x="1628876" y="1086720"/>
                  </a:cubicBezTo>
                  <a:cubicBezTo>
                    <a:pt x="1641276" y="1110722"/>
                    <a:pt x="1668400" y="1212809"/>
                    <a:pt x="1679444" y="1277049"/>
                  </a:cubicBezTo>
                  <a:cubicBezTo>
                    <a:pt x="1691949" y="1349779"/>
                    <a:pt x="1689077" y="1536523"/>
                    <a:pt x="1674299" y="1611661"/>
                  </a:cubicBezTo>
                  <a:cubicBezTo>
                    <a:pt x="1663076" y="1668728"/>
                    <a:pt x="1640658" y="1749790"/>
                    <a:pt x="1633587" y="1758877"/>
                  </a:cubicBezTo>
                  <a:cubicBezTo>
                    <a:pt x="1630900" y="1762328"/>
                    <a:pt x="1626870" y="1772823"/>
                    <a:pt x="1624629" y="1782197"/>
                  </a:cubicBezTo>
                  <a:cubicBezTo>
                    <a:pt x="1617765" y="1810917"/>
                    <a:pt x="1550069" y="1943296"/>
                    <a:pt x="1531058" y="1965175"/>
                  </a:cubicBezTo>
                  <a:cubicBezTo>
                    <a:pt x="1526426" y="1970506"/>
                    <a:pt x="1522636" y="1977494"/>
                    <a:pt x="1522636" y="1980703"/>
                  </a:cubicBezTo>
                  <a:cubicBezTo>
                    <a:pt x="1522636" y="1983913"/>
                    <a:pt x="1517110" y="1990522"/>
                    <a:pt x="1510356" y="1995389"/>
                  </a:cubicBezTo>
                  <a:cubicBezTo>
                    <a:pt x="1503603" y="2000257"/>
                    <a:pt x="1498077" y="2007314"/>
                    <a:pt x="1498077" y="2011071"/>
                  </a:cubicBezTo>
                  <a:cubicBezTo>
                    <a:pt x="1498077" y="2014828"/>
                    <a:pt x="1489865" y="2025960"/>
                    <a:pt x="1479829" y="2035809"/>
                  </a:cubicBezTo>
                  <a:cubicBezTo>
                    <a:pt x="1469792" y="2045658"/>
                    <a:pt x="1461503" y="2056025"/>
                    <a:pt x="1461410" y="2058846"/>
                  </a:cubicBezTo>
                  <a:cubicBezTo>
                    <a:pt x="1460972" y="2072016"/>
                    <a:pt x="1320319" y="2201853"/>
                    <a:pt x="1270760" y="2234837"/>
                  </a:cubicBezTo>
                  <a:cubicBezTo>
                    <a:pt x="1263149" y="2239902"/>
                    <a:pt x="1249687" y="2249572"/>
                    <a:pt x="1240844" y="2256325"/>
                  </a:cubicBezTo>
                  <a:cubicBezTo>
                    <a:pt x="1232000" y="2263079"/>
                    <a:pt x="1219261" y="2271937"/>
                    <a:pt x="1212534" y="2276010"/>
                  </a:cubicBezTo>
                  <a:cubicBezTo>
                    <a:pt x="1195841" y="2286118"/>
                    <a:pt x="1075032" y="2345572"/>
                    <a:pt x="1056022" y="2353036"/>
                  </a:cubicBezTo>
                  <a:cubicBezTo>
                    <a:pt x="1047579" y="2356351"/>
                    <a:pt x="1035777" y="2361564"/>
                    <a:pt x="1029793" y="2364622"/>
                  </a:cubicBezTo>
                  <a:cubicBezTo>
                    <a:pt x="1023810" y="2367679"/>
                    <a:pt x="1006543" y="2371876"/>
                    <a:pt x="991421" y="2373949"/>
                  </a:cubicBezTo>
                  <a:cubicBezTo>
                    <a:pt x="976299" y="2376022"/>
                    <a:pt x="963927" y="2379697"/>
                    <a:pt x="963927" y="2382115"/>
                  </a:cubicBezTo>
                  <a:cubicBezTo>
                    <a:pt x="963927" y="2384534"/>
                    <a:pt x="946659" y="2389626"/>
                    <a:pt x="925554" y="2393433"/>
                  </a:cubicBezTo>
                  <a:cubicBezTo>
                    <a:pt x="904449" y="2397238"/>
                    <a:pt x="865078" y="2404499"/>
                    <a:pt x="838064" y="2409568"/>
                  </a:cubicBezTo>
                  <a:cubicBezTo>
                    <a:pt x="792744" y="2418072"/>
                    <a:pt x="595775" y="2423347"/>
                    <a:pt x="588675" y="2416247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8038B52-ADA8-490A-8B6F-4AFEA6DC1E99}"/>
                </a:ext>
              </a:extLst>
            </p:cNvPr>
            <p:cNvSpPr/>
            <p:nvPr/>
          </p:nvSpPr>
          <p:spPr bwMode="ltGray">
            <a:xfrm>
              <a:off x="8388747" y="3531534"/>
              <a:ext cx="1942794" cy="1949094"/>
            </a:xfrm>
            <a:custGeom>
              <a:avLst/>
              <a:gdLst>
                <a:gd name="connsiteX0" fmla="*/ 973708 w 1957294"/>
                <a:gd name="connsiteY0" fmla="*/ 989463 h 1963641"/>
                <a:gd name="connsiteX1" fmla="*/ 0 w 1957294"/>
                <a:gd name="connsiteY1" fmla="*/ 7098 h 1963641"/>
                <a:gd name="connsiteX2" fmla="*/ 977741 w 1957294"/>
                <a:gd name="connsiteY2" fmla="*/ 467 h 1963641"/>
                <a:gd name="connsiteX3" fmla="*/ 1955482 w 1957294"/>
                <a:gd name="connsiteY3" fmla="*/ 2020 h 1963641"/>
                <a:gd name="connsiteX4" fmla="*/ 1957036 w 1957294"/>
                <a:gd name="connsiteY4" fmla="*/ 982831 h 1963641"/>
                <a:gd name="connsiteX5" fmla="*/ 1953003 w 1957294"/>
                <a:gd name="connsiteY5" fmla="*/ 1963642 h 1963641"/>
                <a:gd name="connsiteX6" fmla="*/ 973708 w 1957294"/>
                <a:gd name="connsiteY6" fmla="*/ 989463 h 196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7294" h="1963641">
                  <a:moveTo>
                    <a:pt x="973708" y="989463"/>
                  </a:moveTo>
                  <a:cubicBezTo>
                    <a:pt x="438169" y="453664"/>
                    <a:pt x="0" y="11601"/>
                    <a:pt x="0" y="7098"/>
                  </a:cubicBezTo>
                  <a:cubicBezTo>
                    <a:pt x="0" y="305"/>
                    <a:pt x="166301" y="-823"/>
                    <a:pt x="977741" y="467"/>
                  </a:cubicBezTo>
                  <a:lnTo>
                    <a:pt x="1955482" y="2020"/>
                  </a:lnTo>
                  <a:lnTo>
                    <a:pt x="1957036" y="982831"/>
                  </a:lnTo>
                  <a:cubicBezTo>
                    <a:pt x="1957964" y="1568967"/>
                    <a:pt x="1956341" y="1963642"/>
                    <a:pt x="1953003" y="1963642"/>
                  </a:cubicBezTo>
                  <a:cubicBezTo>
                    <a:pt x="1949931" y="1963642"/>
                    <a:pt x="1509248" y="1525261"/>
                    <a:pt x="973708" y="98946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AE93C7A-0AED-4658-932C-C0946D03722F}"/>
                </a:ext>
              </a:extLst>
            </p:cNvPr>
            <p:cNvSpPr/>
            <p:nvPr/>
          </p:nvSpPr>
          <p:spPr bwMode="ltGray">
            <a:xfrm>
              <a:off x="5920935" y="2339081"/>
              <a:ext cx="2184430" cy="2152033"/>
            </a:xfrm>
            <a:custGeom>
              <a:avLst/>
              <a:gdLst>
                <a:gd name="connsiteX0" fmla="*/ 957455 w 2200734"/>
                <a:gd name="connsiteY0" fmla="*/ 2163178 h 2168095"/>
                <a:gd name="connsiteX1" fmla="*/ 807034 w 2200734"/>
                <a:gd name="connsiteY1" fmla="*/ 2133636 h 2168095"/>
                <a:gd name="connsiteX2" fmla="*/ 774532 w 2200734"/>
                <a:gd name="connsiteY2" fmla="*/ 2125046 h 2168095"/>
                <a:gd name="connsiteX3" fmla="*/ 737694 w 2200734"/>
                <a:gd name="connsiteY3" fmla="*/ 2115622 h 2168095"/>
                <a:gd name="connsiteX4" fmla="*/ 681170 w 2200734"/>
                <a:gd name="connsiteY4" fmla="*/ 2093279 h 2168095"/>
                <a:gd name="connsiteX5" fmla="*/ 480516 w 2200734"/>
                <a:gd name="connsiteY5" fmla="*/ 1987559 h 2168095"/>
                <a:gd name="connsiteX6" fmla="*/ 415073 w 2200734"/>
                <a:gd name="connsiteY6" fmla="*/ 1945093 h 2168095"/>
                <a:gd name="connsiteX7" fmla="*/ 209732 w 2200734"/>
                <a:gd name="connsiteY7" fmla="*/ 1737519 h 2168095"/>
                <a:gd name="connsiteX8" fmla="*/ 188463 w 2200734"/>
                <a:gd name="connsiteY8" fmla="*/ 1708765 h 2168095"/>
                <a:gd name="connsiteX9" fmla="*/ 171579 w 2200734"/>
                <a:gd name="connsiteY9" fmla="*/ 1683294 h 2168095"/>
                <a:gd name="connsiteX10" fmla="*/ 151566 w 2200734"/>
                <a:gd name="connsiteY10" fmla="*/ 1650651 h 2168095"/>
                <a:gd name="connsiteX11" fmla="*/ 64945 w 2200734"/>
                <a:gd name="connsiteY11" fmla="*/ 1481800 h 2168095"/>
                <a:gd name="connsiteX12" fmla="*/ 54925 w 2200734"/>
                <a:gd name="connsiteY12" fmla="*/ 1443428 h 2168095"/>
                <a:gd name="connsiteX13" fmla="*/ 49064 w 2200734"/>
                <a:gd name="connsiteY13" fmla="*/ 1427471 h 2168095"/>
                <a:gd name="connsiteX14" fmla="*/ 39217 w 2200734"/>
                <a:gd name="connsiteY14" fmla="*/ 1404448 h 2168095"/>
                <a:gd name="connsiteX15" fmla="*/ 25793 w 2200734"/>
                <a:gd name="connsiteY15" fmla="*/ 1353795 h 2168095"/>
                <a:gd name="connsiteX16" fmla="*/ 26316 w 2200734"/>
                <a:gd name="connsiteY16" fmla="*/ 813505 h 2168095"/>
                <a:gd name="connsiteX17" fmla="*/ 36453 w 2200734"/>
                <a:gd name="connsiteY17" fmla="*/ 773598 h 2168095"/>
                <a:gd name="connsiteX18" fmla="*/ 45752 w 2200734"/>
                <a:gd name="connsiteY18" fmla="*/ 743732 h 2168095"/>
                <a:gd name="connsiteX19" fmla="*/ 54924 w 2200734"/>
                <a:gd name="connsiteY19" fmla="*/ 717032 h 2168095"/>
                <a:gd name="connsiteX20" fmla="*/ 143849 w 2200734"/>
                <a:gd name="connsiteY20" fmla="*/ 528437 h 2168095"/>
                <a:gd name="connsiteX21" fmla="*/ 161905 w 2200734"/>
                <a:gd name="connsiteY21" fmla="*/ 500270 h 2168095"/>
                <a:gd name="connsiteX22" fmla="*/ 177312 w 2200734"/>
                <a:gd name="connsiteY22" fmla="*/ 475824 h 2168095"/>
                <a:gd name="connsiteX23" fmla="*/ 197537 w 2200734"/>
                <a:gd name="connsiteY23" fmla="*/ 447080 h 2168095"/>
                <a:gd name="connsiteX24" fmla="*/ 285389 w 2200734"/>
                <a:gd name="connsiteY24" fmla="*/ 340208 h 2168095"/>
                <a:gd name="connsiteX25" fmla="*/ 438923 w 2200734"/>
                <a:gd name="connsiteY25" fmla="*/ 205995 h 2168095"/>
                <a:gd name="connsiteX26" fmla="*/ 472421 w 2200734"/>
                <a:gd name="connsiteY26" fmla="*/ 181128 h 2168095"/>
                <a:gd name="connsiteX27" fmla="*/ 545677 w 2200734"/>
                <a:gd name="connsiteY27" fmla="*/ 138143 h 2168095"/>
                <a:gd name="connsiteX28" fmla="*/ 553259 w 2200734"/>
                <a:gd name="connsiteY28" fmla="*/ 133538 h 2168095"/>
                <a:gd name="connsiteX29" fmla="*/ 688757 w 2200734"/>
                <a:gd name="connsiteY29" fmla="*/ 70606 h 2168095"/>
                <a:gd name="connsiteX30" fmla="*/ 702965 w 2200734"/>
                <a:gd name="connsiteY30" fmla="*/ 65041 h 2168095"/>
                <a:gd name="connsiteX31" fmla="*/ 837730 w 2200734"/>
                <a:gd name="connsiteY31" fmla="*/ 23628 h 2168095"/>
                <a:gd name="connsiteX32" fmla="*/ 1592909 w 2200734"/>
                <a:gd name="connsiteY32" fmla="*/ 112 h 2168095"/>
                <a:gd name="connsiteX33" fmla="*/ 2200735 w 2200734"/>
                <a:gd name="connsiteY33" fmla="*/ 0 h 2168095"/>
                <a:gd name="connsiteX34" fmla="*/ 2200735 w 2200734"/>
                <a:gd name="connsiteY34" fmla="*/ 1083650 h 2168095"/>
                <a:gd name="connsiteX35" fmla="*/ 2200735 w 2200734"/>
                <a:gd name="connsiteY35" fmla="*/ 2167300 h 2168095"/>
                <a:gd name="connsiteX36" fmla="*/ 1595978 w 2200734"/>
                <a:gd name="connsiteY36" fmla="*/ 2168044 h 2168095"/>
                <a:gd name="connsiteX37" fmla="*/ 957454 w 2200734"/>
                <a:gd name="connsiteY37" fmla="*/ 2163178 h 216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00734" h="2168095">
                  <a:moveTo>
                    <a:pt x="957455" y="2163178"/>
                  </a:moveTo>
                  <a:cubicBezTo>
                    <a:pt x="857851" y="2146632"/>
                    <a:pt x="812541" y="2137733"/>
                    <a:pt x="807034" y="2133636"/>
                  </a:cubicBezTo>
                  <a:cubicBezTo>
                    <a:pt x="803656" y="2131124"/>
                    <a:pt x="789031" y="2127258"/>
                    <a:pt x="774532" y="2125046"/>
                  </a:cubicBezTo>
                  <a:cubicBezTo>
                    <a:pt x="760033" y="2122832"/>
                    <a:pt x="743456" y="2118592"/>
                    <a:pt x="737694" y="2115622"/>
                  </a:cubicBezTo>
                  <a:cubicBezTo>
                    <a:pt x="731932" y="2112652"/>
                    <a:pt x="706497" y="2102598"/>
                    <a:pt x="681170" y="2093279"/>
                  </a:cubicBezTo>
                  <a:cubicBezTo>
                    <a:pt x="621153" y="2071197"/>
                    <a:pt x="545573" y="2031375"/>
                    <a:pt x="480516" y="1987559"/>
                  </a:cubicBezTo>
                  <a:cubicBezTo>
                    <a:pt x="451814" y="1968228"/>
                    <a:pt x="422365" y="1949119"/>
                    <a:pt x="415073" y="1945093"/>
                  </a:cubicBezTo>
                  <a:cubicBezTo>
                    <a:pt x="387548" y="1929898"/>
                    <a:pt x="242079" y="1782847"/>
                    <a:pt x="209732" y="1737519"/>
                  </a:cubicBezTo>
                  <a:cubicBezTo>
                    <a:pt x="207320" y="1734139"/>
                    <a:pt x="197749" y="1721200"/>
                    <a:pt x="188463" y="1708765"/>
                  </a:cubicBezTo>
                  <a:cubicBezTo>
                    <a:pt x="179176" y="1696330"/>
                    <a:pt x="171579" y="1684868"/>
                    <a:pt x="171579" y="1683294"/>
                  </a:cubicBezTo>
                  <a:cubicBezTo>
                    <a:pt x="171579" y="1681719"/>
                    <a:pt x="162573" y="1667030"/>
                    <a:pt x="151566" y="1650651"/>
                  </a:cubicBezTo>
                  <a:cubicBezTo>
                    <a:pt x="133805" y="1624222"/>
                    <a:pt x="93391" y="1545442"/>
                    <a:pt x="64945" y="1481800"/>
                  </a:cubicBezTo>
                  <a:cubicBezTo>
                    <a:pt x="59434" y="1469471"/>
                    <a:pt x="54925" y="1452203"/>
                    <a:pt x="54925" y="1443428"/>
                  </a:cubicBezTo>
                  <a:cubicBezTo>
                    <a:pt x="54925" y="1434652"/>
                    <a:pt x="52288" y="1427471"/>
                    <a:pt x="49064" y="1427471"/>
                  </a:cubicBezTo>
                  <a:cubicBezTo>
                    <a:pt x="45840" y="1427471"/>
                    <a:pt x="41408" y="1417111"/>
                    <a:pt x="39217" y="1404448"/>
                  </a:cubicBezTo>
                  <a:cubicBezTo>
                    <a:pt x="37025" y="1391785"/>
                    <a:pt x="30984" y="1368991"/>
                    <a:pt x="25793" y="1353795"/>
                  </a:cubicBezTo>
                  <a:cubicBezTo>
                    <a:pt x="-8850" y="1252383"/>
                    <a:pt x="-8517" y="909645"/>
                    <a:pt x="26316" y="813505"/>
                  </a:cubicBezTo>
                  <a:cubicBezTo>
                    <a:pt x="31821" y="798310"/>
                    <a:pt x="36383" y="780351"/>
                    <a:pt x="36453" y="773598"/>
                  </a:cubicBezTo>
                  <a:cubicBezTo>
                    <a:pt x="36520" y="766844"/>
                    <a:pt x="40708" y="753405"/>
                    <a:pt x="45752" y="743732"/>
                  </a:cubicBezTo>
                  <a:cubicBezTo>
                    <a:pt x="50796" y="734060"/>
                    <a:pt x="54924" y="722045"/>
                    <a:pt x="54924" y="717032"/>
                  </a:cubicBezTo>
                  <a:cubicBezTo>
                    <a:pt x="54924" y="702170"/>
                    <a:pt x="129455" y="544102"/>
                    <a:pt x="143849" y="528437"/>
                  </a:cubicBezTo>
                  <a:cubicBezTo>
                    <a:pt x="147280" y="524702"/>
                    <a:pt x="155406" y="512027"/>
                    <a:pt x="161905" y="500270"/>
                  </a:cubicBezTo>
                  <a:cubicBezTo>
                    <a:pt x="168405" y="488513"/>
                    <a:pt x="175337" y="477513"/>
                    <a:pt x="177312" y="475824"/>
                  </a:cubicBezTo>
                  <a:cubicBezTo>
                    <a:pt x="179286" y="474135"/>
                    <a:pt x="188388" y="461201"/>
                    <a:pt x="197537" y="447080"/>
                  </a:cubicBezTo>
                  <a:cubicBezTo>
                    <a:pt x="212681" y="423710"/>
                    <a:pt x="232326" y="399812"/>
                    <a:pt x="285389" y="340208"/>
                  </a:cubicBezTo>
                  <a:cubicBezTo>
                    <a:pt x="322750" y="298242"/>
                    <a:pt x="386726" y="242317"/>
                    <a:pt x="438923" y="205995"/>
                  </a:cubicBezTo>
                  <a:cubicBezTo>
                    <a:pt x="455658" y="194350"/>
                    <a:pt x="470732" y="183160"/>
                    <a:pt x="472421" y="181128"/>
                  </a:cubicBezTo>
                  <a:cubicBezTo>
                    <a:pt x="477865" y="174577"/>
                    <a:pt x="539956" y="138143"/>
                    <a:pt x="545677" y="138143"/>
                  </a:cubicBezTo>
                  <a:cubicBezTo>
                    <a:pt x="548721" y="138143"/>
                    <a:pt x="552133" y="136071"/>
                    <a:pt x="553259" y="133538"/>
                  </a:cubicBezTo>
                  <a:cubicBezTo>
                    <a:pt x="556758" y="125665"/>
                    <a:pt x="675306" y="70606"/>
                    <a:pt x="688757" y="70606"/>
                  </a:cubicBezTo>
                  <a:cubicBezTo>
                    <a:pt x="693363" y="70606"/>
                    <a:pt x="699757" y="68102"/>
                    <a:pt x="702965" y="65041"/>
                  </a:cubicBezTo>
                  <a:cubicBezTo>
                    <a:pt x="711083" y="57295"/>
                    <a:pt x="786205" y="34211"/>
                    <a:pt x="837730" y="23628"/>
                  </a:cubicBezTo>
                  <a:cubicBezTo>
                    <a:pt x="947243" y="1137"/>
                    <a:pt x="976476" y="226"/>
                    <a:pt x="1592909" y="112"/>
                  </a:cubicBezTo>
                  <a:lnTo>
                    <a:pt x="2200735" y="0"/>
                  </a:lnTo>
                  <a:lnTo>
                    <a:pt x="2200735" y="1083650"/>
                  </a:lnTo>
                  <a:lnTo>
                    <a:pt x="2200735" y="2167300"/>
                  </a:lnTo>
                  <a:lnTo>
                    <a:pt x="1595978" y="2168044"/>
                  </a:lnTo>
                  <a:cubicBezTo>
                    <a:pt x="1255652" y="2168462"/>
                    <a:pt x="976457" y="2166334"/>
                    <a:pt x="957454" y="2163178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A7B5FB1-0B25-4D0F-B929-F3D47D38A838}"/>
                </a:ext>
              </a:extLst>
            </p:cNvPr>
            <p:cNvSpPr/>
            <p:nvPr/>
          </p:nvSpPr>
          <p:spPr bwMode="ltGray">
            <a:xfrm>
              <a:off x="8382685" y="1421907"/>
              <a:ext cx="1950103" cy="1952130"/>
            </a:xfrm>
            <a:custGeom>
              <a:avLst/>
              <a:gdLst>
                <a:gd name="connsiteX0" fmla="*/ 2525 w 1964658"/>
                <a:gd name="connsiteY0" fmla="*/ 1965203 h 1966700"/>
                <a:gd name="connsiteX1" fmla="*/ 0 w 1964658"/>
                <a:gd name="connsiteY1" fmla="*/ 1952923 h 1966700"/>
                <a:gd name="connsiteX2" fmla="*/ 1954086 w 1964658"/>
                <a:gd name="connsiteY2" fmla="*/ 0 h 1966700"/>
                <a:gd name="connsiteX3" fmla="*/ 1964659 w 1964658"/>
                <a:gd name="connsiteY3" fmla="*/ 979468 h 1966700"/>
                <a:gd name="connsiteX4" fmla="*/ 1956984 w 1964658"/>
                <a:gd name="connsiteY4" fmla="*/ 1961805 h 1966700"/>
                <a:gd name="connsiteX5" fmla="*/ 2525 w 1964658"/>
                <a:gd name="connsiteY5" fmla="*/ 1965203 h 19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4658" h="1966700">
                  <a:moveTo>
                    <a:pt x="2525" y="1965203"/>
                  </a:moveTo>
                  <a:cubicBezTo>
                    <a:pt x="1118" y="1963796"/>
                    <a:pt x="-19" y="1958270"/>
                    <a:pt x="0" y="1952923"/>
                  </a:cubicBezTo>
                  <a:cubicBezTo>
                    <a:pt x="62" y="1939618"/>
                    <a:pt x="1940818" y="0"/>
                    <a:pt x="1954086" y="0"/>
                  </a:cubicBezTo>
                  <a:cubicBezTo>
                    <a:pt x="1964046" y="0"/>
                    <a:pt x="1964659" y="56784"/>
                    <a:pt x="1964659" y="979468"/>
                  </a:cubicBezTo>
                  <a:cubicBezTo>
                    <a:pt x="1964659" y="1757420"/>
                    <a:pt x="1963080" y="1959527"/>
                    <a:pt x="1956984" y="1961805"/>
                  </a:cubicBezTo>
                  <a:cubicBezTo>
                    <a:pt x="1947464" y="1965364"/>
                    <a:pt x="6060" y="1968739"/>
                    <a:pt x="2525" y="1965203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E47632C-6699-4AE7-93D3-B547EC574995}"/>
                </a:ext>
              </a:extLst>
            </p:cNvPr>
            <p:cNvSpPr/>
            <p:nvPr/>
          </p:nvSpPr>
          <p:spPr bwMode="ltGray">
            <a:xfrm>
              <a:off x="10479049" y="925306"/>
              <a:ext cx="1712951" cy="2451368"/>
            </a:xfrm>
            <a:custGeom>
              <a:avLst/>
              <a:gdLst>
                <a:gd name="connsiteX0" fmla="*/ 328799 w 1725736"/>
                <a:gd name="connsiteY0" fmla="*/ 2466535 h 2469664"/>
                <a:gd name="connsiteX1" fmla="*/ 5026 w 1725736"/>
                <a:gd name="connsiteY1" fmla="*/ 2457270 h 2469664"/>
                <a:gd name="connsiteX2" fmla="*/ 94 w 1725736"/>
                <a:gd name="connsiteY2" fmla="*/ 1391036 h 2469664"/>
                <a:gd name="connsiteX3" fmla="*/ 0 w 1725736"/>
                <a:gd name="connsiteY3" fmla="*/ 332421 h 2469664"/>
                <a:gd name="connsiteX4" fmla="*/ 41443 w 1725736"/>
                <a:gd name="connsiteY4" fmla="*/ 291932 h 2469664"/>
                <a:gd name="connsiteX5" fmla="*/ 183623 w 1725736"/>
                <a:gd name="connsiteY5" fmla="*/ 174907 h 2469664"/>
                <a:gd name="connsiteX6" fmla="*/ 190329 w 1725736"/>
                <a:gd name="connsiteY6" fmla="*/ 170091 h 2469664"/>
                <a:gd name="connsiteX7" fmla="*/ 210283 w 1725736"/>
                <a:gd name="connsiteY7" fmla="*/ 153669 h 2469664"/>
                <a:gd name="connsiteX8" fmla="*/ 233307 w 1725736"/>
                <a:gd name="connsiteY8" fmla="*/ 138262 h 2469664"/>
                <a:gd name="connsiteX9" fmla="*/ 310053 w 1725736"/>
                <a:gd name="connsiteY9" fmla="*/ 99088 h 2469664"/>
                <a:gd name="connsiteX10" fmla="*/ 393717 w 1725736"/>
                <a:gd name="connsiteY10" fmla="*/ 58334 h 2469664"/>
                <a:gd name="connsiteX11" fmla="*/ 427485 w 1725736"/>
                <a:gd name="connsiteY11" fmla="*/ 48663 h 2469664"/>
                <a:gd name="connsiteX12" fmla="*/ 457405 w 1725736"/>
                <a:gd name="connsiteY12" fmla="*/ 39578 h 2469664"/>
                <a:gd name="connsiteX13" fmla="*/ 494243 w 1725736"/>
                <a:gd name="connsiteY13" fmla="*/ 28698 h 2469664"/>
                <a:gd name="connsiteX14" fmla="*/ 561779 w 1725736"/>
                <a:gd name="connsiteY14" fmla="*/ 11887 h 2469664"/>
                <a:gd name="connsiteX15" fmla="*/ 924019 w 1725736"/>
                <a:gd name="connsiteY15" fmla="*/ 11795 h 2469664"/>
                <a:gd name="connsiteX16" fmla="*/ 991555 w 1725736"/>
                <a:gd name="connsiteY16" fmla="*/ 28698 h 2469664"/>
                <a:gd name="connsiteX17" fmla="*/ 1028393 w 1725736"/>
                <a:gd name="connsiteY17" fmla="*/ 39514 h 2469664"/>
                <a:gd name="connsiteX18" fmla="*/ 1055862 w 1725736"/>
                <a:gd name="connsiteY18" fmla="*/ 48302 h 2469664"/>
                <a:gd name="connsiteX19" fmla="*/ 1293897 w 1725736"/>
                <a:gd name="connsiteY19" fmla="*/ 166882 h 2469664"/>
                <a:gd name="connsiteX20" fmla="*/ 1476588 w 1725736"/>
                <a:gd name="connsiteY20" fmla="*/ 325702 h 2469664"/>
                <a:gd name="connsiteX21" fmla="*/ 1517902 w 1725736"/>
                <a:gd name="connsiteY21" fmla="*/ 374036 h 2469664"/>
                <a:gd name="connsiteX22" fmla="*/ 1544410 w 1725736"/>
                <a:gd name="connsiteY22" fmla="*/ 409749 h 2469664"/>
                <a:gd name="connsiteX23" fmla="*/ 1553748 w 1725736"/>
                <a:gd name="connsiteY23" fmla="*/ 420493 h 2469664"/>
                <a:gd name="connsiteX24" fmla="*/ 1559474 w 1725736"/>
                <a:gd name="connsiteY24" fmla="*/ 425933 h 2469664"/>
                <a:gd name="connsiteX25" fmla="*/ 1584032 w 1725736"/>
                <a:gd name="connsiteY25" fmla="*/ 468150 h 2469664"/>
                <a:gd name="connsiteX26" fmla="*/ 1608591 w 1725736"/>
                <a:gd name="connsiteY26" fmla="*/ 511827 h 2469664"/>
                <a:gd name="connsiteX27" fmla="*/ 1614731 w 1725736"/>
                <a:gd name="connsiteY27" fmla="*/ 518728 h 2469664"/>
                <a:gd name="connsiteX28" fmla="*/ 1620870 w 1725736"/>
                <a:gd name="connsiteY28" fmla="*/ 524258 h 2469664"/>
                <a:gd name="connsiteX29" fmla="*/ 1644508 w 1725736"/>
                <a:gd name="connsiteY29" fmla="*/ 581050 h 2469664"/>
                <a:gd name="connsiteX30" fmla="*/ 1679115 w 1725736"/>
                <a:gd name="connsiteY30" fmla="*/ 666080 h 2469664"/>
                <a:gd name="connsiteX31" fmla="*/ 1695552 w 1725736"/>
                <a:gd name="connsiteY31" fmla="*/ 712127 h 2469664"/>
                <a:gd name="connsiteX32" fmla="*/ 1706662 w 1725736"/>
                <a:gd name="connsiteY32" fmla="*/ 755105 h 2469664"/>
                <a:gd name="connsiteX33" fmla="*/ 1719063 w 1725736"/>
                <a:gd name="connsiteY33" fmla="*/ 816501 h 2469664"/>
                <a:gd name="connsiteX34" fmla="*/ 1719002 w 1725736"/>
                <a:gd name="connsiteY34" fmla="*/ 1154183 h 2469664"/>
                <a:gd name="connsiteX35" fmla="*/ 1706792 w 1725736"/>
                <a:gd name="connsiteY35" fmla="*/ 1212509 h 2469664"/>
                <a:gd name="connsiteX36" fmla="*/ 1677162 w 1725736"/>
                <a:gd name="connsiteY36" fmla="*/ 1312679 h 2469664"/>
                <a:gd name="connsiteX37" fmla="*/ 1669968 w 1725736"/>
                <a:gd name="connsiteY37" fmla="*/ 1335122 h 2469664"/>
                <a:gd name="connsiteX38" fmla="*/ 1658561 w 1725736"/>
                <a:gd name="connsiteY38" fmla="*/ 1363886 h 2469664"/>
                <a:gd name="connsiteX39" fmla="*/ 1591776 w 1725736"/>
                <a:gd name="connsiteY39" fmla="*/ 1493411 h 2469664"/>
                <a:gd name="connsiteX40" fmla="*/ 1577873 w 1725736"/>
                <a:gd name="connsiteY40" fmla="*/ 1519254 h 2469664"/>
                <a:gd name="connsiteX41" fmla="*/ 1573268 w 1725736"/>
                <a:gd name="connsiteY41" fmla="*/ 1526655 h 2469664"/>
                <a:gd name="connsiteX42" fmla="*/ 1547524 w 1725736"/>
                <a:gd name="connsiteY42" fmla="*/ 1559400 h 2469664"/>
                <a:gd name="connsiteX43" fmla="*/ 1512221 w 1725736"/>
                <a:gd name="connsiteY43" fmla="*/ 1603619 h 2469664"/>
                <a:gd name="connsiteX44" fmla="*/ 1498057 w 1725736"/>
                <a:gd name="connsiteY44" fmla="*/ 1622099 h 2469664"/>
                <a:gd name="connsiteX45" fmla="*/ 650680 w 1725736"/>
                <a:gd name="connsiteY45" fmla="*/ 2469661 h 2469664"/>
                <a:gd name="connsiteX46" fmla="*/ 328780 w 1725736"/>
                <a:gd name="connsiteY46" fmla="*/ 2466536 h 246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725736" h="2469664">
                  <a:moveTo>
                    <a:pt x="328799" y="2466535"/>
                  </a:moveTo>
                  <a:cubicBezTo>
                    <a:pt x="83066" y="2465266"/>
                    <a:pt x="8755" y="2463140"/>
                    <a:pt x="5026" y="2457270"/>
                  </a:cubicBezTo>
                  <a:cubicBezTo>
                    <a:pt x="2365" y="2453079"/>
                    <a:pt x="145" y="1973274"/>
                    <a:pt x="94" y="1391036"/>
                  </a:cubicBezTo>
                  <a:lnTo>
                    <a:pt x="0" y="332421"/>
                  </a:lnTo>
                  <a:lnTo>
                    <a:pt x="41443" y="291932"/>
                  </a:lnTo>
                  <a:cubicBezTo>
                    <a:pt x="102158" y="232614"/>
                    <a:pt x="172270" y="174907"/>
                    <a:pt x="183623" y="174907"/>
                  </a:cubicBezTo>
                  <a:cubicBezTo>
                    <a:pt x="187312" y="174907"/>
                    <a:pt x="190329" y="172740"/>
                    <a:pt x="190329" y="170091"/>
                  </a:cubicBezTo>
                  <a:cubicBezTo>
                    <a:pt x="190329" y="167442"/>
                    <a:pt x="199308" y="160052"/>
                    <a:pt x="210283" y="153669"/>
                  </a:cubicBezTo>
                  <a:cubicBezTo>
                    <a:pt x="221258" y="147286"/>
                    <a:pt x="231619" y="140353"/>
                    <a:pt x="233307" y="138262"/>
                  </a:cubicBezTo>
                  <a:cubicBezTo>
                    <a:pt x="234995" y="136172"/>
                    <a:pt x="269531" y="118543"/>
                    <a:pt x="310053" y="99088"/>
                  </a:cubicBezTo>
                  <a:cubicBezTo>
                    <a:pt x="350574" y="79632"/>
                    <a:pt x="388224" y="61293"/>
                    <a:pt x="393717" y="58334"/>
                  </a:cubicBezTo>
                  <a:cubicBezTo>
                    <a:pt x="399211" y="55375"/>
                    <a:pt x="414406" y="51023"/>
                    <a:pt x="427485" y="48663"/>
                  </a:cubicBezTo>
                  <a:cubicBezTo>
                    <a:pt x="440564" y="46304"/>
                    <a:pt x="454028" y="42215"/>
                    <a:pt x="457405" y="39578"/>
                  </a:cubicBezTo>
                  <a:cubicBezTo>
                    <a:pt x="460781" y="36940"/>
                    <a:pt x="477359" y="32044"/>
                    <a:pt x="494243" y="28698"/>
                  </a:cubicBezTo>
                  <a:cubicBezTo>
                    <a:pt x="511127" y="25352"/>
                    <a:pt x="541518" y="17787"/>
                    <a:pt x="561779" y="11887"/>
                  </a:cubicBezTo>
                  <a:cubicBezTo>
                    <a:pt x="616048" y="-3915"/>
                    <a:pt x="870305" y="-3979"/>
                    <a:pt x="924019" y="11795"/>
                  </a:cubicBezTo>
                  <a:cubicBezTo>
                    <a:pt x="944280" y="17745"/>
                    <a:pt x="974671" y="25352"/>
                    <a:pt x="991555" y="28698"/>
                  </a:cubicBezTo>
                  <a:cubicBezTo>
                    <a:pt x="1008439" y="32044"/>
                    <a:pt x="1025016" y="36912"/>
                    <a:pt x="1028393" y="39514"/>
                  </a:cubicBezTo>
                  <a:cubicBezTo>
                    <a:pt x="1031770" y="42117"/>
                    <a:pt x="1044131" y="46071"/>
                    <a:pt x="1055862" y="48302"/>
                  </a:cubicBezTo>
                  <a:cubicBezTo>
                    <a:pt x="1098148" y="56341"/>
                    <a:pt x="1219085" y="116588"/>
                    <a:pt x="1293897" y="166882"/>
                  </a:cubicBezTo>
                  <a:cubicBezTo>
                    <a:pt x="1351409" y="205546"/>
                    <a:pt x="1448196" y="289686"/>
                    <a:pt x="1476588" y="325702"/>
                  </a:cubicBezTo>
                  <a:cubicBezTo>
                    <a:pt x="1486719" y="338553"/>
                    <a:pt x="1505310" y="360303"/>
                    <a:pt x="1517902" y="374036"/>
                  </a:cubicBezTo>
                  <a:cubicBezTo>
                    <a:pt x="1530494" y="387769"/>
                    <a:pt x="1542423" y="403839"/>
                    <a:pt x="1544410" y="409749"/>
                  </a:cubicBezTo>
                  <a:cubicBezTo>
                    <a:pt x="1546396" y="415658"/>
                    <a:pt x="1550599" y="420493"/>
                    <a:pt x="1553748" y="420493"/>
                  </a:cubicBezTo>
                  <a:cubicBezTo>
                    <a:pt x="1556897" y="420493"/>
                    <a:pt x="1559474" y="422941"/>
                    <a:pt x="1559474" y="425933"/>
                  </a:cubicBezTo>
                  <a:cubicBezTo>
                    <a:pt x="1559474" y="428925"/>
                    <a:pt x="1570525" y="447923"/>
                    <a:pt x="1584032" y="468150"/>
                  </a:cubicBezTo>
                  <a:cubicBezTo>
                    <a:pt x="1597539" y="488377"/>
                    <a:pt x="1608591" y="508032"/>
                    <a:pt x="1608591" y="511827"/>
                  </a:cubicBezTo>
                  <a:cubicBezTo>
                    <a:pt x="1608591" y="515623"/>
                    <a:pt x="1611354" y="518728"/>
                    <a:pt x="1614731" y="518728"/>
                  </a:cubicBezTo>
                  <a:cubicBezTo>
                    <a:pt x="1618107" y="518728"/>
                    <a:pt x="1620870" y="521216"/>
                    <a:pt x="1620870" y="524258"/>
                  </a:cubicBezTo>
                  <a:cubicBezTo>
                    <a:pt x="1620870" y="527299"/>
                    <a:pt x="1631507" y="552856"/>
                    <a:pt x="1644508" y="581050"/>
                  </a:cubicBezTo>
                  <a:cubicBezTo>
                    <a:pt x="1657509" y="609244"/>
                    <a:pt x="1673082" y="647507"/>
                    <a:pt x="1679115" y="666080"/>
                  </a:cubicBezTo>
                  <a:cubicBezTo>
                    <a:pt x="1685148" y="684652"/>
                    <a:pt x="1692545" y="705373"/>
                    <a:pt x="1695552" y="712127"/>
                  </a:cubicBezTo>
                  <a:cubicBezTo>
                    <a:pt x="1698559" y="718881"/>
                    <a:pt x="1703558" y="738221"/>
                    <a:pt x="1706662" y="755105"/>
                  </a:cubicBezTo>
                  <a:cubicBezTo>
                    <a:pt x="1709765" y="771989"/>
                    <a:pt x="1715345" y="799617"/>
                    <a:pt x="1719063" y="816501"/>
                  </a:cubicBezTo>
                  <a:cubicBezTo>
                    <a:pt x="1727988" y="857032"/>
                    <a:pt x="1727956" y="1114223"/>
                    <a:pt x="1719002" y="1154183"/>
                  </a:cubicBezTo>
                  <a:cubicBezTo>
                    <a:pt x="1715226" y="1171067"/>
                    <a:pt x="1709732" y="1197314"/>
                    <a:pt x="1706792" y="1212509"/>
                  </a:cubicBezTo>
                  <a:cubicBezTo>
                    <a:pt x="1700827" y="1243344"/>
                    <a:pt x="1688065" y="1286488"/>
                    <a:pt x="1677162" y="1312679"/>
                  </a:cubicBezTo>
                  <a:cubicBezTo>
                    <a:pt x="1673205" y="1322185"/>
                    <a:pt x="1669968" y="1332284"/>
                    <a:pt x="1669968" y="1335122"/>
                  </a:cubicBezTo>
                  <a:cubicBezTo>
                    <a:pt x="1669968" y="1337960"/>
                    <a:pt x="1664834" y="1350904"/>
                    <a:pt x="1658561" y="1363886"/>
                  </a:cubicBezTo>
                  <a:cubicBezTo>
                    <a:pt x="1614260" y="1455556"/>
                    <a:pt x="1604122" y="1475217"/>
                    <a:pt x="1591776" y="1493411"/>
                  </a:cubicBezTo>
                  <a:cubicBezTo>
                    <a:pt x="1584129" y="1504679"/>
                    <a:pt x="1577873" y="1516308"/>
                    <a:pt x="1577873" y="1519254"/>
                  </a:cubicBezTo>
                  <a:cubicBezTo>
                    <a:pt x="1577873" y="1522199"/>
                    <a:pt x="1575801" y="1525530"/>
                    <a:pt x="1573268" y="1526655"/>
                  </a:cubicBezTo>
                  <a:cubicBezTo>
                    <a:pt x="1570736" y="1527781"/>
                    <a:pt x="1559151" y="1542516"/>
                    <a:pt x="1547524" y="1559400"/>
                  </a:cubicBezTo>
                  <a:cubicBezTo>
                    <a:pt x="1535897" y="1576284"/>
                    <a:pt x="1520011" y="1596183"/>
                    <a:pt x="1512221" y="1603619"/>
                  </a:cubicBezTo>
                  <a:cubicBezTo>
                    <a:pt x="1504431" y="1611056"/>
                    <a:pt x="1498057" y="1619372"/>
                    <a:pt x="1498057" y="1622099"/>
                  </a:cubicBezTo>
                  <a:cubicBezTo>
                    <a:pt x="1498057" y="1628246"/>
                    <a:pt x="654781" y="2471706"/>
                    <a:pt x="650680" y="2469661"/>
                  </a:cubicBezTo>
                  <a:cubicBezTo>
                    <a:pt x="649049" y="2468848"/>
                    <a:pt x="504194" y="2467441"/>
                    <a:pt x="328780" y="2466536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19D471C-8C87-42DA-B7E6-0F02BE93A9D2}"/>
                </a:ext>
              </a:extLst>
            </p:cNvPr>
            <p:cNvSpPr/>
            <p:nvPr/>
          </p:nvSpPr>
          <p:spPr bwMode="ltGray">
            <a:xfrm>
              <a:off x="8223342" y="25805"/>
              <a:ext cx="2152512" cy="3260920"/>
            </a:xfrm>
            <a:custGeom>
              <a:avLst/>
              <a:gdLst>
                <a:gd name="connsiteX0" fmla="*/ 837 w 2168578"/>
                <a:gd name="connsiteY0" fmla="*/ 3280654 h 3285258"/>
                <a:gd name="connsiteX1" fmla="*/ 7833 w 2168578"/>
                <a:gd name="connsiteY1" fmla="*/ 915350 h 3285258"/>
                <a:gd name="connsiteX2" fmla="*/ 17238 w 2168578"/>
                <a:gd name="connsiteY2" fmla="*/ 853954 h 3285258"/>
                <a:gd name="connsiteX3" fmla="*/ 25537 w 2168578"/>
                <a:gd name="connsiteY3" fmla="*/ 820185 h 3285258"/>
                <a:gd name="connsiteX4" fmla="*/ 34763 w 2168578"/>
                <a:gd name="connsiteY4" fmla="*/ 789487 h 3285258"/>
                <a:gd name="connsiteX5" fmla="*/ 74447 w 2168578"/>
                <a:gd name="connsiteY5" fmla="*/ 666694 h 3285258"/>
                <a:gd name="connsiteX6" fmla="*/ 83025 w 2168578"/>
                <a:gd name="connsiteY6" fmla="*/ 643670 h 3285258"/>
                <a:gd name="connsiteX7" fmla="*/ 93080 w 2168578"/>
                <a:gd name="connsiteY7" fmla="*/ 626786 h 3285258"/>
                <a:gd name="connsiteX8" fmla="*/ 99103 w 2168578"/>
                <a:gd name="connsiteY8" fmla="*/ 614068 h 3285258"/>
                <a:gd name="connsiteX9" fmla="*/ 108312 w 2168578"/>
                <a:gd name="connsiteY9" fmla="*/ 592141 h 3285258"/>
                <a:gd name="connsiteX10" fmla="*/ 117522 w 2168578"/>
                <a:gd name="connsiteY10" fmla="*/ 571091 h 3285258"/>
                <a:gd name="connsiteX11" fmla="*/ 123248 w 2168578"/>
                <a:gd name="connsiteY11" fmla="*/ 559250 h 3285258"/>
                <a:gd name="connsiteX12" fmla="*/ 133333 w 2168578"/>
                <a:gd name="connsiteY12" fmla="*/ 545516 h 3285258"/>
                <a:gd name="connsiteX13" fmla="*/ 174314 w 2168578"/>
                <a:gd name="connsiteY13" fmla="*/ 480458 h 3285258"/>
                <a:gd name="connsiteX14" fmla="*/ 178919 w 2168578"/>
                <a:gd name="connsiteY14" fmla="*/ 472456 h 3285258"/>
                <a:gd name="connsiteX15" fmla="*/ 317979 w 2168578"/>
                <a:gd name="connsiteY15" fmla="*/ 304189 h 3285258"/>
                <a:gd name="connsiteX16" fmla="*/ 533599 w 2168578"/>
                <a:gd name="connsiteY16" fmla="*/ 134256 h 3285258"/>
                <a:gd name="connsiteX17" fmla="*/ 702024 w 2168578"/>
                <a:gd name="connsiteY17" fmla="*/ 55798 h 3285258"/>
                <a:gd name="connsiteX18" fmla="*/ 716446 w 2168578"/>
                <a:gd name="connsiteY18" fmla="*/ 50279 h 3285258"/>
                <a:gd name="connsiteX19" fmla="*/ 866561 w 2168578"/>
                <a:gd name="connsiteY19" fmla="*/ 9441 h 3285258"/>
                <a:gd name="connsiteX20" fmla="*/ 1354663 w 2168578"/>
                <a:gd name="connsiteY20" fmla="*/ 19350 h 3285258"/>
                <a:gd name="connsiteX21" fmla="*/ 1403781 w 2168578"/>
                <a:gd name="connsiteY21" fmla="*/ 34752 h 3285258"/>
                <a:gd name="connsiteX22" fmla="*/ 1446451 w 2168578"/>
                <a:gd name="connsiteY22" fmla="*/ 50338 h 3285258"/>
                <a:gd name="connsiteX23" fmla="*/ 1463923 w 2168578"/>
                <a:gd name="connsiteY23" fmla="*/ 55798 h 3285258"/>
                <a:gd name="connsiteX24" fmla="*/ 1491859 w 2168578"/>
                <a:gd name="connsiteY24" fmla="*/ 64209 h 3285258"/>
                <a:gd name="connsiteX25" fmla="*/ 1568544 w 2168578"/>
                <a:gd name="connsiteY25" fmla="*/ 102582 h 3285258"/>
                <a:gd name="connsiteX26" fmla="*/ 1652437 w 2168578"/>
                <a:gd name="connsiteY26" fmla="*/ 149349 h 3285258"/>
                <a:gd name="connsiteX27" fmla="*/ 1658398 w 2168578"/>
                <a:gd name="connsiteY27" fmla="*/ 154032 h 3285258"/>
                <a:gd name="connsiteX28" fmla="*/ 1726113 w 2168578"/>
                <a:gd name="connsiteY28" fmla="*/ 197296 h 3285258"/>
                <a:gd name="connsiteX29" fmla="*/ 1766021 w 2168578"/>
                <a:gd name="connsiteY29" fmla="*/ 228896 h 3285258"/>
                <a:gd name="connsiteX30" fmla="*/ 1928722 w 2168578"/>
                <a:gd name="connsiteY30" fmla="*/ 390571 h 3285258"/>
                <a:gd name="connsiteX31" fmla="*/ 1957885 w 2168578"/>
                <a:gd name="connsiteY31" fmla="*/ 428151 h 3285258"/>
                <a:gd name="connsiteX32" fmla="*/ 1977839 w 2168578"/>
                <a:gd name="connsiteY32" fmla="*/ 459852 h 3285258"/>
                <a:gd name="connsiteX33" fmla="*/ 1982555 w 2168578"/>
                <a:gd name="connsiteY33" fmla="*/ 468178 h 3285258"/>
                <a:gd name="connsiteX34" fmla="*/ 2026957 w 2168578"/>
                <a:gd name="connsiteY34" fmla="*/ 539322 h 3285258"/>
                <a:gd name="connsiteX35" fmla="*/ 2031976 w 2168578"/>
                <a:gd name="connsiteY35" fmla="*/ 547994 h 3285258"/>
                <a:gd name="connsiteX36" fmla="*/ 2056956 w 2168578"/>
                <a:gd name="connsiteY36" fmla="*/ 593018 h 3285258"/>
                <a:gd name="connsiteX37" fmla="*/ 2082636 w 2168578"/>
                <a:gd name="connsiteY37" fmla="*/ 646657 h 3285258"/>
                <a:gd name="connsiteX38" fmla="*/ 2088353 w 2168578"/>
                <a:gd name="connsiteY38" fmla="*/ 666611 h 3285258"/>
                <a:gd name="connsiteX39" fmla="*/ 2093809 w 2168578"/>
                <a:gd name="connsiteY39" fmla="*/ 675903 h 3285258"/>
                <a:gd name="connsiteX40" fmla="*/ 2103439 w 2168578"/>
                <a:gd name="connsiteY40" fmla="*/ 698148 h 3285258"/>
                <a:gd name="connsiteX41" fmla="*/ 2113282 w 2168578"/>
                <a:gd name="connsiteY41" fmla="*/ 730381 h 3285258"/>
                <a:gd name="connsiteX42" fmla="*/ 2165641 w 2168578"/>
                <a:gd name="connsiteY42" fmla="*/ 1038143 h 3285258"/>
                <a:gd name="connsiteX43" fmla="*/ 2168579 w 2168578"/>
                <a:gd name="connsiteY43" fmla="*/ 1121029 h 3285258"/>
                <a:gd name="connsiteX44" fmla="*/ 1835982 w 2168578"/>
                <a:gd name="connsiteY44" fmla="*/ 1455640 h 3285258"/>
                <a:gd name="connsiteX45" fmla="*/ 8600 w 2168578"/>
                <a:gd name="connsiteY45" fmla="*/ 3285259 h 3285258"/>
                <a:gd name="connsiteX46" fmla="*/ 837 w 2168578"/>
                <a:gd name="connsiteY46" fmla="*/ 3280654 h 3285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68578" h="3285258">
                  <a:moveTo>
                    <a:pt x="837" y="3280654"/>
                  </a:moveTo>
                  <a:cubicBezTo>
                    <a:pt x="-2147" y="2841903"/>
                    <a:pt x="3478" y="939708"/>
                    <a:pt x="7833" y="915350"/>
                  </a:cubicBezTo>
                  <a:cubicBezTo>
                    <a:pt x="11153" y="896778"/>
                    <a:pt x="15385" y="869149"/>
                    <a:pt x="17238" y="853954"/>
                  </a:cubicBezTo>
                  <a:cubicBezTo>
                    <a:pt x="19090" y="838758"/>
                    <a:pt x="22824" y="823562"/>
                    <a:pt x="25537" y="820185"/>
                  </a:cubicBezTo>
                  <a:cubicBezTo>
                    <a:pt x="28249" y="816809"/>
                    <a:pt x="32400" y="802994"/>
                    <a:pt x="34763" y="789487"/>
                  </a:cubicBezTo>
                  <a:cubicBezTo>
                    <a:pt x="39512" y="762329"/>
                    <a:pt x="67297" y="676356"/>
                    <a:pt x="74447" y="666694"/>
                  </a:cubicBezTo>
                  <a:cubicBezTo>
                    <a:pt x="76946" y="663317"/>
                    <a:pt x="80806" y="652956"/>
                    <a:pt x="83025" y="643670"/>
                  </a:cubicBezTo>
                  <a:cubicBezTo>
                    <a:pt x="85242" y="634384"/>
                    <a:pt x="89768" y="626786"/>
                    <a:pt x="93080" y="626786"/>
                  </a:cubicBezTo>
                  <a:cubicBezTo>
                    <a:pt x="96393" y="626786"/>
                    <a:pt x="99103" y="621063"/>
                    <a:pt x="99103" y="614068"/>
                  </a:cubicBezTo>
                  <a:cubicBezTo>
                    <a:pt x="99103" y="607073"/>
                    <a:pt x="103247" y="597206"/>
                    <a:pt x="108312" y="592141"/>
                  </a:cubicBezTo>
                  <a:cubicBezTo>
                    <a:pt x="113377" y="587076"/>
                    <a:pt x="117522" y="577603"/>
                    <a:pt x="117522" y="571091"/>
                  </a:cubicBezTo>
                  <a:cubicBezTo>
                    <a:pt x="117522" y="564578"/>
                    <a:pt x="120099" y="559250"/>
                    <a:pt x="123248" y="559250"/>
                  </a:cubicBezTo>
                  <a:cubicBezTo>
                    <a:pt x="126397" y="559250"/>
                    <a:pt x="130935" y="553070"/>
                    <a:pt x="133333" y="545516"/>
                  </a:cubicBezTo>
                  <a:cubicBezTo>
                    <a:pt x="138345" y="529724"/>
                    <a:pt x="167459" y="483504"/>
                    <a:pt x="174314" y="480458"/>
                  </a:cubicBezTo>
                  <a:cubicBezTo>
                    <a:pt x="176846" y="479332"/>
                    <a:pt x="178919" y="475731"/>
                    <a:pt x="178919" y="472456"/>
                  </a:cubicBezTo>
                  <a:cubicBezTo>
                    <a:pt x="178919" y="458327"/>
                    <a:pt x="250284" y="371973"/>
                    <a:pt x="317979" y="304189"/>
                  </a:cubicBezTo>
                  <a:cubicBezTo>
                    <a:pt x="385431" y="236650"/>
                    <a:pt x="477371" y="164189"/>
                    <a:pt x="533599" y="134256"/>
                  </a:cubicBezTo>
                  <a:cubicBezTo>
                    <a:pt x="620291" y="88104"/>
                    <a:pt x="689642" y="55798"/>
                    <a:pt x="702024" y="55798"/>
                  </a:cubicBezTo>
                  <a:cubicBezTo>
                    <a:pt x="706748" y="55798"/>
                    <a:pt x="713238" y="53314"/>
                    <a:pt x="716446" y="50279"/>
                  </a:cubicBezTo>
                  <a:cubicBezTo>
                    <a:pt x="725724" y="41501"/>
                    <a:pt x="809616" y="18678"/>
                    <a:pt x="866561" y="9441"/>
                  </a:cubicBezTo>
                  <a:cubicBezTo>
                    <a:pt x="969735" y="-7294"/>
                    <a:pt x="1308670" y="-414"/>
                    <a:pt x="1354663" y="19350"/>
                  </a:cubicBezTo>
                  <a:cubicBezTo>
                    <a:pt x="1361417" y="22252"/>
                    <a:pt x="1383520" y="29183"/>
                    <a:pt x="1403781" y="34752"/>
                  </a:cubicBezTo>
                  <a:cubicBezTo>
                    <a:pt x="1424042" y="40321"/>
                    <a:pt x="1443243" y="47335"/>
                    <a:pt x="1446451" y="50338"/>
                  </a:cubicBezTo>
                  <a:cubicBezTo>
                    <a:pt x="1449660" y="53341"/>
                    <a:pt x="1457522" y="55798"/>
                    <a:pt x="1463923" y="55798"/>
                  </a:cubicBezTo>
                  <a:cubicBezTo>
                    <a:pt x="1470325" y="55798"/>
                    <a:pt x="1482896" y="59583"/>
                    <a:pt x="1491859" y="64209"/>
                  </a:cubicBezTo>
                  <a:cubicBezTo>
                    <a:pt x="1500822" y="68835"/>
                    <a:pt x="1535330" y="86103"/>
                    <a:pt x="1568544" y="102582"/>
                  </a:cubicBezTo>
                  <a:cubicBezTo>
                    <a:pt x="1653310" y="144639"/>
                    <a:pt x="1652437" y="144152"/>
                    <a:pt x="1652437" y="149349"/>
                  </a:cubicBezTo>
                  <a:cubicBezTo>
                    <a:pt x="1652437" y="151925"/>
                    <a:pt x="1655119" y="154032"/>
                    <a:pt x="1658398" y="154032"/>
                  </a:cubicBezTo>
                  <a:cubicBezTo>
                    <a:pt x="1663758" y="154032"/>
                    <a:pt x="1718576" y="189056"/>
                    <a:pt x="1726113" y="197296"/>
                  </a:cubicBezTo>
                  <a:cubicBezTo>
                    <a:pt x="1727801" y="199142"/>
                    <a:pt x="1745760" y="213362"/>
                    <a:pt x="1766021" y="228896"/>
                  </a:cubicBezTo>
                  <a:cubicBezTo>
                    <a:pt x="1799229" y="254356"/>
                    <a:pt x="1905633" y="360089"/>
                    <a:pt x="1928722" y="390571"/>
                  </a:cubicBezTo>
                  <a:cubicBezTo>
                    <a:pt x="1933787" y="397258"/>
                    <a:pt x="1946911" y="414169"/>
                    <a:pt x="1957885" y="428151"/>
                  </a:cubicBezTo>
                  <a:cubicBezTo>
                    <a:pt x="1968860" y="442133"/>
                    <a:pt x="1977839" y="456399"/>
                    <a:pt x="1977839" y="459852"/>
                  </a:cubicBezTo>
                  <a:cubicBezTo>
                    <a:pt x="1977839" y="463306"/>
                    <a:pt x="1979961" y="467053"/>
                    <a:pt x="1982555" y="468178"/>
                  </a:cubicBezTo>
                  <a:cubicBezTo>
                    <a:pt x="1989318" y="471113"/>
                    <a:pt x="2026957" y="531420"/>
                    <a:pt x="2026957" y="539322"/>
                  </a:cubicBezTo>
                  <a:cubicBezTo>
                    <a:pt x="2026957" y="542966"/>
                    <a:pt x="2029215" y="546868"/>
                    <a:pt x="2031976" y="547994"/>
                  </a:cubicBezTo>
                  <a:cubicBezTo>
                    <a:pt x="2034736" y="549119"/>
                    <a:pt x="2045977" y="569380"/>
                    <a:pt x="2056956" y="593018"/>
                  </a:cubicBezTo>
                  <a:cubicBezTo>
                    <a:pt x="2067935" y="616656"/>
                    <a:pt x="2079491" y="640793"/>
                    <a:pt x="2082636" y="646657"/>
                  </a:cubicBezTo>
                  <a:cubicBezTo>
                    <a:pt x="2085780" y="652520"/>
                    <a:pt x="2088353" y="661500"/>
                    <a:pt x="2088353" y="666611"/>
                  </a:cubicBezTo>
                  <a:cubicBezTo>
                    <a:pt x="2088353" y="671722"/>
                    <a:pt x="2090808" y="675903"/>
                    <a:pt x="2093809" y="675903"/>
                  </a:cubicBezTo>
                  <a:cubicBezTo>
                    <a:pt x="2096811" y="675903"/>
                    <a:pt x="2101144" y="685914"/>
                    <a:pt x="2103439" y="698148"/>
                  </a:cubicBezTo>
                  <a:cubicBezTo>
                    <a:pt x="2105734" y="710383"/>
                    <a:pt x="2110164" y="724888"/>
                    <a:pt x="2113282" y="730381"/>
                  </a:cubicBezTo>
                  <a:cubicBezTo>
                    <a:pt x="2135788" y="770029"/>
                    <a:pt x="2161492" y="921119"/>
                    <a:pt x="2165641" y="1038143"/>
                  </a:cubicBezTo>
                  <a:lnTo>
                    <a:pt x="2168579" y="1121029"/>
                  </a:lnTo>
                  <a:lnTo>
                    <a:pt x="1835982" y="1455640"/>
                  </a:lnTo>
                  <a:cubicBezTo>
                    <a:pt x="443875" y="2856179"/>
                    <a:pt x="15320" y="3285259"/>
                    <a:pt x="8600" y="3285259"/>
                  </a:cubicBezTo>
                  <a:cubicBezTo>
                    <a:pt x="4347" y="3285259"/>
                    <a:pt x="854" y="3283187"/>
                    <a:pt x="837" y="3280654"/>
                  </a:cubicBez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 w="61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53CD0A7-4950-4133-8A0A-BEDC5815414C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551942" y="443530"/>
            <a:ext cx="2706859" cy="122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36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909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Rectangle 7">
            <a:extLst>
              <a:ext uri="{FF2B5EF4-FFF2-40B4-BE49-F238E27FC236}">
                <a16:creationId xmlns:a16="http://schemas.microsoft.com/office/drawing/2014/main" id="{D4468DF6-5EFF-493C-83CF-A7D69643D5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3176" y="0"/>
            <a:ext cx="12188824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3792C023-06C8-4A16-BBB2-DAE611A41AB7}"/>
              </a:ext>
            </a:extLst>
          </p:cNvPr>
          <p:cNvSpPr/>
          <p:nvPr/>
        </p:nvSpPr>
        <p:spPr>
          <a:xfrm>
            <a:off x="5522684" y="358775"/>
            <a:ext cx="155042" cy="6140450"/>
          </a:xfrm>
          <a:prstGeom prst="rect">
            <a:avLst/>
          </a:prstGeom>
          <a:solidFill>
            <a:schemeClr val="accent5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F57D5E4-EF63-4B58-A2AA-591EA01EF054}"/>
              </a:ext>
            </a:extLst>
          </p:cNvPr>
          <p:cNvSpPr/>
          <p:nvPr/>
        </p:nvSpPr>
        <p:spPr bwMode="ltGray">
          <a:xfrm>
            <a:off x="210457" y="358775"/>
            <a:ext cx="5390243" cy="6140450"/>
          </a:xfrm>
          <a:prstGeom prst="rect">
            <a:avLst/>
          </a:prstGeom>
          <a:solidFill>
            <a:schemeClr val="accent1">
              <a:alpha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551941" y="6053524"/>
            <a:ext cx="487275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551941" y="4945896"/>
            <a:ext cx="487275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551941" y="2914940"/>
            <a:ext cx="4872756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9CD4B3-1E2D-4DB8-8FDC-55BC1D553907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243" y="751409"/>
            <a:ext cx="2005015" cy="9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003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29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0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9C9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4" name="Picture 577">
            <a:extLst>
              <a:ext uri="{FF2B5EF4-FFF2-40B4-BE49-F238E27FC236}">
                <a16:creationId xmlns:a16="http://schemas.microsoft.com/office/drawing/2014/main" id="{0355C810-0E7D-404A-AB9D-745F75A586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14559" y="431058"/>
            <a:ext cx="2638502" cy="119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2D0323-DDFD-4C1E-88D5-33B89558B9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ocumenttype">
            <a:extLst>
              <a:ext uri="{FF2B5EF4-FFF2-40B4-BE49-F238E27FC236}">
                <a16:creationId xmlns:a16="http://schemas.microsoft.com/office/drawing/2014/main" id="{1A249EF7-8253-4FF9-882D-FA9C8406144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F29D07E-6282-4B46-8400-5CD989519589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B8634863-663E-45C0-B822-1793C399D8F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56168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19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518E57-9F5F-4786-9531-AF52B49FC78D}"/>
              </a:ext>
            </a:extLst>
          </p:cNvPr>
          <p:cNvSpPr/>
          <p:nvPr userDrawn="1"/>
        </p:nvSpPr>
        <p:spPr bwMode="ltGray">
          <a:xfrm>
            <a:off x="1" y="0"/>
            <a:ext cx="7087505" cy="6858000"/>
          </a:xfrm>
          <a:custGeom>
            <a:avLst/>
            <a:gdLst>
              <a:gd name="connsiteX0" fmla="*/ 0 w 7087505"/>
              <a:gd name="connsiteY0" fmla="*/ 0 h 6858000"/>
              <a:gd name="connsiteX1" fmla="*/ 5993318 w 7087505"/>
              <a:gd name="connsiteY1" fmla="*/ 0 h 6858000"/>
              <a:gd name="connsiteX2" fmla="*/ 6072708 w 7087505"/>
              <a:gd name="connsiteY2" fmla="*/ 105291 h 6858000"/>
              <a:gd name="connsiteX3" fmla="*/ 7087505 w 7087505"/>
              <a:gd name="connsiteY3" fmla="*/ 3352800 h 6858000"/>
              <a:gd name="connsiteX4" fmla="*/ 5933030 w 7087505"/>
              <a:gd name="connsiteY4" fmla="*/ 6785556 h 6858000"/>
              <a:gd name="connsiteX5" fmla="*/ 5872909 w 7087505"/>
              <a:gd name="connsiteY5" fmla="*/ 6858000 h 6858000"/>
              <a:gd name="connsiteX6" fmla="*/ 0 w 708750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87505" h="6858000">
                <a:moveTo>
                  <a:pt x="0" y="0"/>
                </a:moveTo>
                <a:lnTo>
                  <a:pt x="5993318" y="0"/>
                </a:lnTo>
                <a:lnTo>
                  <a:pt x="6072708" y="105291"/>
                </a:lnTo>
                <a:cubicBezTo>
                  <a:pt x="6706674" y="987806"/>
                  <a:pt x="7087505" y="2119210"/>
                  <a:pt x="7087505" y="3352800"/>
                </a:cubicBezTo>
                <a:cubicBezTo>
                  <a:pt x="7087505" y="4674504"/>
                  <a:pt x="6650326" y="5878903"/>
                  <a:pt x="5933030" y="6785556"/>
                </a:cubicBezTo>
                <a:lnTo>
                  <a:pt x="58729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13419" y="6099213"/>
            <a:ext cx="449111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414560" y="5401443"/>
            <a:ext cx="449111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414560" y="2751892"/>
            <a:ext cx="449111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Rectangle 1">
            <a:extLst>
              <a:ext uri="{FF2B5EF4-FFF2-40B4-BE49-F238E27FC236}">
                <a16:creationId xmlns:a16="http://schemas.microsoft.com/office/drawing/2014/main" id="{883382E9-97AC-47AE-8B9A-5273AB81C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6943270" cy="6858000"/>
          </a:xfrm>
          <a:custGeom>
            <a:avLst/>
            <a:gdLst>
              <a:gd name="connsiteX0" fmla="*/ 0 w 6943270"/>
              <a:gd name="connsiteY0" fmla="*/ 0 h 6858000"/>
              <a:gd name="connsiteX1" fmla="*/ 5849083 w 6943270"/>
              <a:gd name="connsiteY1" fmla="*/ 0 h 6858000"/>
              <a:gd name="connsiteX2" fmla="*/ 5928473 w 6943270"/>
              <a:gd name="connsiteY2" fmla="*/ 105291 h 6858000"/>
              <a:gd name="connsiteX3" fmla="*/ 6943270 w 6943270"/>
              <a:gd name="connsiteY3" fmla="*/ 3352800 h 6858000"/>
              <a:gd name="connsiteX4" fmla="*/ 5788795 w 6943270"/>
              <a:gd name="connsiteY4" fmla="*/ 6785556 h 6858000"/>
              <a:gd name="connsiteX5" fmla="*/ 5728674 w 6943270"/>
              <a:gd name="connsiteY5" fmla="*/ 6858000 h 6858000"/>
              <a:gd name="connsiteX6" fmla="*/ 0 w 69432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270" h="6858000">
                <a:moveTo>
                  <a:pt x="0" y="0"/>
                </a:moveTo>
                <a:lnTo>
                  <a:pt x="5849083" y="0"/>
                </a:lnTo>
                <a:lnTo>
                  <a:pt x="5928473" y="105291"/>
                </a:lnTo>
                <a:cubicBezTo>
                  <a:pt x="6562439" y="987806"/>
                  <a:pt x="6943270" y="2119210"/>
                  <a:pt x="6943270" y="3352800"/>
                </a:cubicBezTo>
                <a:cubicBezTo>
                  <a:pt x="6943270" y="4674504"/>
                  <a:pt x="6506091" y="5878903"/>
                  <a:pt x="5788795" y="6785556"/>
                </a:cubicBezTo>
                <a:lnTo>
                  <a:pt x="572867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528BC99-CC74-421D-8D22-FC636E9D330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4560" y="431058"/>
            <a:ext cx="2606896" cy="118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9515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5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err="1"/>
              <a:t>Sumber</a:t>
            </a:r>
            <a:r>
              <a:rPr lang="en-US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618075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29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846703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08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679172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397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901941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59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513724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9638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1F3D1A44-C4DE-4309-9CD1-EAC714DD93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4442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00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BF1AF695-4F9A-4CE6-943D-9DEF155CB6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1272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90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3" name="Picture 577">
            <a:extLst>
              <a:ext uri="{FF2B5EF4-FFF2-40B4-BE49-F238E27FC236}">
                <a16:creationId xmlns:a16="http://schemas.microsoft.com/office/drawing/2014/main" id="{B9830461-AA98-4F8E-8046-CE3DAE7EB9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255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08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50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>
                <a:solidFill>
                  <a:schemeClr val="tx1"/>
                </a:solidFill>
              </a:rPr>
              <a:t>Sumber</a:t>
            </a:r>
            <a:r>
              <a:rPr lang="en-US" sz="800">
                <a:solidFill>
                  <a:schemeClr val="tx1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CC95F7CE-8CC0-48E2-A463-44EACD9C14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7482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281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umb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77">
            <a:extLst>
              <a:ext uri="{FF2B5EF4-FFF2-40B4-BE49-F238E27FC236}">
                <a16:creationId xmlns:a16="http://schemas.microsoft.com/office/drawing/2014/main" id="{4B4EAE61-BF75-4CF2-AEBB-3160B71C81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36811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67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577">
            <a:extLst>
              <a:ext uri="{FF2B5EF4-FFF2-40B4-BE49-F238E27FC236}">
                <a16:creationId xmlns:a16="http://schemas.microsoft.com/office/drawing/2014/main" id="{3AED4D0D-E5E6-49D3-9994-37CFCE8DB3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05986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01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Picture 577">
            <a:extLst>
              <a:ext uri="{FF2B5EF4-FFF2-40B4-BE49-F238E27FC236}">
                <a16:creationId xmlns:a16="http://schemas.microsoft.com/office/drawing/2014/main" id="{822DD78D-5066-4160-93CD-8DB2680DA2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5948" y="6227086"/>
            <a:ext cx="1050925" cy="47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56561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6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pic>
        <p:nvPicPr>
          <p:cNvPr id="6" name="Picture 577">
            <a:extLst>
              <a:ext uri="{FF2B5EF4-FFF2-40B4-BE49-F238E27FC236}">
                <a16:creationId xmlns:a16="http://schemas.microsoft.com/office/drawing/2014/main" id="{423201DB-9CC9-4745-91E6-B00E72B4E7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384" y="2818435"/>
            <a:ext cx="2697234" cy="1221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10863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57815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mb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3798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533589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87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671721-CFBE-4EA2-A0E0-C95CB809CC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795845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8703CC6-8477-444D-9E15-F448F8EB1FAC}"/>
              </a:ext>
            </a:extLst>
          </p:cNvPr>
          <p:cNvSpPr/>
          <p:nvPr userDrawn="1"/>
        </p:nvSpPr>
        <p:spPr>
          <a:xfrm>
            <a:off x="6083449" y="-11876"/>
            <a:ext cx="6126480" cy="69037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F515D2-F143-0544-9BEE-56F67B4817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769" y="169857"/>
            <a:ext cx="5669280" cy="391013"/>
          </a:xfrm>
          <a:prstGeom prst="rect">
            <a:avLst/>
          </a:prstGeom>
        </p:spPr>
        <p:txBody>
          <a:bodyPr/>
          <a:lstStyle>
            <a:lvl1pPr algn="l">
              <a:defRPr sz="2500"/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57CB45-B150-0948-ACCF-D2859B6A04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9776" y="6189786"/>
            <a:ext cx="1282299" cy="5802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CBA591-F270-EB46-BF3B-3D5037F456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8139" y="6286012"/>
            <a:ext cx="2743200" cy="365125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9C099C12-0FA6-5345-B979-B19A08F582E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BA3406F-ECEC-884B-9E2C-1B2EB48E65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358" y="598743"/>
            <a:ext cx="5669280" cy="3275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007E78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B12D97C5-956F-7E4F-B4FD-65DC6EFE12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396" y="6414165"/>
            <a:ext cx="4279900" cy="21926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38206099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397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err="1"/>
              <a:t>Sumber</a:t>
            </a:r>
            <a:r>
              <a:rPr lang="en-US" sz="800"/>
              <a:t>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96CF8C-1EA0-4E47-AC60-CAC3B80A3C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672" y="1335024"/>
            <a:ext cx="6190488" cy="1179576"/>
          </a:xfrm>
        </p:spPr>
        <p:txBody>
          <a:bodyPr lIns="91440" tIns="45720" rIns="91440" bIns="45720" anchor="b"/>
          <a:lstStyle>
            <a:lvl1pPr>
              <a:defRPr sz="40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40F15D-DD72-46D5-BF0F-F50647107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64424" y="62179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8CABF8-19D8-4F3C-994F-4D35EC7A2C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50392" y="2825496"/>
            <a:ext cx="6190488" cy="3346704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2000"/>
            </a:lvl1pPr>
            <a:lvl2pPr marL="228600">
              <a:defRPr sz="1800"/>
            </a:lvl2pPr>
            <a:lvl3pPr marL="457200">
              <a:defRPr sz="1600"/>
            </a:lvl3pPr>
            <a:lvl4pPr marL="68580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62FC6D8-DD87-4B93-8491-43C84EE63FE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51965" y="1665520"/>
            <a:ext cx="4266960" cy="4266968"/>
          </a:xfrm>
          <a:custGeom>
            <a:avLst/>
            <a:gdLst>
              <a:gd name="connsiteX0" fmla="*/ 2133823 w 4266960"/>
              <a:gd name="connsiteY0" fmla="*/ 0 h 4266968"/>
              <a:gd name="connsiteX1" fmla="*/ 4256628 w 4266960"/>
              <a:gd name="connsiteY1" fmla="*/ 1915652 h 4266968"/>
              <a:gd name="connsiteX2" fmla="*/ 4266960 w 4266960"/>
              <a:gd name="connsiteY2" fmla="*/ 2120258 h 4266968"/>
              <a:gd name="connsiteX3" fmla="*/ 4266960 w 4266960"/>
              <a:gd name="connsiteY3" fmla="*/ 2147389 h 4266968"/>
              <a:gd name="connsiteX4" fmla="*/ 4256628 w 4266960"/>
              <a:gd name="connsiteY4" fmla="*/ 2351994 h 4266968"/>
              <a:gd name="connsiteX5" fmla="*/ 2351994 w 4266960"/>
              <a:gd name="connsiteY5" fmla="*/ 4256629 h 4266968"/>
              <a:gd name="connsiteX6" fmla="*/ 2147230 w 4266960"/>
              <a:gd name="connsiteY6" fmla="*/ 4266968 h 4266968"/>
              <a:gd name="connsiteX7" fmla="*/ 2120416 w 4266960"/>
              <a:gd name="connsiteY7" fmla="*/ 4266968 h 4266968"/>
              <a:gd name="connsiteX8" fmla="*/ 1915652 w 4266960"/>
              <a:gd name="connsiteY8" fmla="*/ 4256629 h 4266968"/>
              <a:gd name="connsiteX9" fmla="*/ 0 w 4266960"/>
              <a:gd name="connsiteY9" fmla="*/ 2133823 h 4266968"/>
              <a:gd name="connsiteX10" fmla="*/ 2133823 w 4266960"/>
              <a:gd name="connsiteY10" fmla="*/ 0 h 426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66960" h="4266968">
                <a:moveTo>
                  <a:pt x="2133823" y="0"/>
                </a:moveTo>
                <a:cubicBezTo>
                  <a:pt x="3238644" y="0"/>
                  <a:pt x="4147355" y="839660"/>
                  <a:pt x="4256628" y="1915652"/>
                </a:cubicBezTo>
                <a:lnTo>
                  <a:pt x="4266960" y="2120258"/>
                </a:lnTo>
                <a:lnTo>
                  <a:pt x="4266960" y="2147389"/>
                </a:lnTo>
                <a:lnTo>
                  <a:pt x="4256628" y="2351994"/>
                </a:lnTo>
                <a:cubicBezTo>
                  <a:pt x="4154640" y="3356254"/>
                  <a:pt x="3356253" y="4154640"/>
                  <a:pt x="2351994" y="4256629"/>
                </a:cubicBezTo>
                <a:lnTo>
                  <a:pt x="2147230" y="4266968"/>
                </a:lnTo>
                <a:lnTo>
                  <a:pt x="2120416" y="4266968"/>
                </a:lnTo>
                <a:lnTo>
                  <a:pt x="1915652" y="4256629"/>
                </a:lnTo>
                <a:cubicBezTo>
                  <a:pt x="839660" y="4147356"/>
                  <a:pt x="0" y="3238645"/>
                  <a:pt x="0" y="2133823"/>
                </a:cubicBezTo>
                <a:cubicBezTo>
                  <a:pt x="0" y="955346"/>
                  <a:pt x="955346" y="0"/>
                  <a:pt x="2133823" y="0"/>
                </a:cubicBezTo>
                <a:close/>
              </a:path>
            </a:pathLst>
          </a:custGeom>
        </p:spPr>
        <p:txBody>
          <a:bodyPr wrap="square" tIns="914400" anchor="t" anchorCtr="0">
            <a:noAutofit/>
          </a:bodyPr>
          <a:lstStyle>
            <a:lvl1pPr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66FD4D-815A-431C-ADEF-DE6F236F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A8B3D0E-ED3F-46FA-AE79-5FEFDE916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806470"/>
            <a:ext cx="7903723" cy="0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08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Graphic 10">
            <a:extLst>
              <a:ext uri="{FF2B5EF4-FFF2-40B4-BE49-F238E27FC236}">
                <a16:creationId xmlns:a16="http://schemas.microsoft.com/office/drawing/2014/main" id="{AAD06B87-D9B2-4F94-B734-A8F039A203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281590" y="2070656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2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BB13A13C-36EA-4B13-9175-C5FE95B34D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969280" y="1780012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accent2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006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9" Type="http://schemas.openxmlformats.org/officeDocument/2006/relationships/tags" Target="../tags/tag14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9.xml"/><Relationship Id="rId42" Type="http://schemas.openxmlformats.org/officeDocument/2006/relationships/tags" Target="../tags/tag17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tags" Target="../tags/tag12.xml"/><Relationship Id="rId40" Type="http://schemas.openxmlformats.org/officeDocument/2006/relationships/tags" Target="../tags/tag15.xml"/><Relationship Id="rId45" Type="http://schemas.openxmlformats.org/officeDocument/2006/relationships/tags" Target="../tags/tag2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4" Type="http://schemas.openxmlformats.org/officeDocument/2006/relationships/tags" Target="../tags/tag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tags" Target="../tags/tag10.xml"/><Relationship Id="rId43" Type="http://schemas.openxmlformats.org/officeDocument/2006/relationships/tags" Target="../tags/tag18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tags" Target="../tags/tag13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190.xml"/><Relationship Id="rId39" Type="http://schemas.openxmlformats.org/officeDocument/2006/relationships/tags" Target="../tags/tag203.xml"/><Relationship Id="rId21" Type="http://schemas.openxmlformats.org/officeDocument/2006/relationships/tags" Target="../tags/tag185.xml"/><Relationship Id="rId34" Type="http://schemas.openxmlformats.org/officeDocument/2006/relationships/tags" Target="../tags/tag198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ags" Target="../tags/tag184.xml"/><Relationship Id="rId29" Type="http://schemas.openxmlformats.org/officeDocument/2006/relationships/tags" Target="../tags/tag193.xml"/><Relationship Id="rId41" Type="http://schemas.openxmlformats.org/officeDocument/2006/relationships/oleObject" Target="../embeddings/oleObject22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188.xml"/><Relationship Id="rId32" Type="http://schemas.openxmlformats.org/officeDocument/2006/relationships/tags" Target="../tags/tag196.xml"/><Relationship Id="rId37" Type="http://schemas.openxmlformats.org/officeDocument/2006/relationships/tags" Target="../tags/tag201.xml"/><Relationship Id="rId40" Type="http://schemas.openxmlformats.org/officeDocument/2006/relationships/tags" Target="../tags/tag204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ags" Target="../tags/tag187.xml"/><Relationship Id="rId28" Type="http://schemas.openxmlformats.org/officeDocument/2006/relationships/tags" Target="../tags/tag192.xml"/><Relationship Id="rId36" Type="http://schemas.openxmlformats.org/officeDocument/2006/relationships/tags" Target="../tags/tag200.xml"/><Relationship Id="rId10" Type="http://schemas.openxmlformats.org/officeDocument/2006/relationships/slideLayout" Target="../slideLayouts/slideLayout34.xml"/><Relationship Id="rId19" Type="http://schemas.openxmlformats.org/officeDocument/2006/relationships/theme" Target="../theme/theme2.xml"/><Relationship Id="rId31" Type="http://schemas.openxmlformats.org/officeDocument/2006/relationships/tags" Target="../tags/tag19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tags" Target="../tags/tag186.xml"/><Relationship Id="rId27" Type="http://schemas.openxmlformats.org/officeDocument/2006/relationships/tags" Target="../tags/tag191.xml"/><Relationship Id="rId30" Type="http://schemas.openxmlformats.org/officeDocument/2006/relationships/tags" Target="../tags/tag194.xml"/><Relationship Id="rId35" Type="http://schemas.openxmlformats.org/officeDocument/2006/relationships/tags" Target="../tags/tag199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ags" Target="../tags/tag189.xml"/><Relationship Id="rId33" Type="http://schemas.openxmlformats.org/officeDocument/2006/relationships/tags" Target="../tags/tag197.xml"/><Relationship Id="rId38" Type="http://schemas.openxmlformats.org/officeDocument/2006/relationships/tags" Target="../tags/tag20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tags" Target="../tags/tag314.xml"/><Relationship Id="rId39" Type="http://schemas.openxmlformats.org/officeDocument/2006/relationships/tags" Target="../tags/tag327.xml"/><Relationship Id="rId21" Type="http://schemas.openxmlformats.org/officeDocument/2006/relationships/slideLayout" Target="../slideLayouts/slideLayout63.xml"/><Relationship Id="rId34" Type="http://schemas.openxmlformats.org/officeDocument/2006/relationships/tags" Target="../tags/tag322.xml"/><Relationship Id="rId42" Type="http://schemas.openxmlformats.org/officeDocument/2006/relationships/tags" Target="../tags/tag330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9" Type="http://schemas.openxmlformats.org/officeDocument/2006/relationships/tags" Target="../tags/tag317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tags" Target="../tags/tag320.xml"/><Relationship Id="rId37" Type="http://schemas.openxmlformats.org/officeDocument/2006/relationships/tags" Target="../tags/tag325.xml"/><Relationship Id="rId40" Type="http://schemas.openxmlformats.org/officeDocument/2006/relationships/tags" Target="../tags/tag328.xml"/><Relationship Id="rId45" Type="http://schemas.openxmlformats.org/officeDocument/2006/relationships/tags" Target="../tags/tag33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tags" Target="../tags/tag316.xml"/><Relationship Id="rId36" Type="http://schemas.openxmlformats.org/officeDocument/2006/relationships/tags" Target="../tags/tag324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tags" Target="../tags/tag319.xml"/><Relationship Id="rId44" Type="http://schemas.openxmlformats.org/officeDocument/2006/relationships/tags" Target="../tags/tag33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tags" Target="../tags/tag315.xml"/><Relationship Id="rId30" Type="http://schemas.openxmlformats.org/officeDocument/2006/relationships/tags" Target="../tags/tag318.xml"/><Relationship Id="rId35" Type="http://schemas.openxmlformats.org/officeDocument/2006/relationships/tags" Target="../tags/tag323.xml"/><Relationship Id="rId43" Type="http://schemas.openxmlformats.org/officeDocument/2006/relationships/tags" Target="../tags/tag331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theme" Target="../theme/theme3.xml"/><Relationship Id="rId33" Type="http://schemas.openxmlformats.org/officeDocument/2006/relationships/tags" Target="../tags/tag321.xml"/><Relationship Id="rId38" Type="http://schemas.openxmlformats.org/officeDocument/2006/relationships/tags" Target="../tags/tag326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62.xml"/><Relationship Id="rId41" Type="http://schemas.openxmlformats.org/officeDocument/2006/relationships/tags" Target="../tags/tag32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ags" Target="../tags/tag497.xml"/><Relationship Id="rId39" Type="http://schemas.openxmlformats.org/officeDocument/2006/relationships/tags" Target="../tags/tag510.xml"/><Relationship Id="rId21" Type="http://schemas.openxmlformats.org/officeDocument/2006/relationships/slideLayout" Target="../slideLayouts/slideLayout87.xml"/><Relationship Id="rId34" Type="http://schemas.openxmlformats.org/officeDocument/2006/relationships/tags" Target="../tags/tag505.xml"/><Relationship Id="rId42" Type="http://schemas.openxmlformats.org/officeDocument/2006/relationships/tags" Target="../tags/tag513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tags" Target="../tags/tag500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tags" Target="../tags/tag503.xml"/><Relationship Id="rId37" Type="http://schemas.openxmlformats.org/officeDocument/2006/relationships/tags" Target="../tags/tag508.xml"/><Relationship Id="rId40" Type="http://schemas.openxmlformats.org/officeDocument/2006/relationships/tags" Target="../tags/tag511.xml"/><Relationship Id="rId45" Type="http://schemas.openxmlformats.org/officeDocument/2006/relationships/tags" Target="../tags/tag516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tags" Target="../tags/tag499.xml"/><Relationship Id="rId36" Type="http://schemas.openxmlformats.org/officeDocument/2006/relationships/tags" Target="../tags/tag507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tags" Target="../tags/tag502.xml"/><Relationship Id="rId44" Type="http://schemas.openxmlformats.org/officeDocument/2006/relationships/tags" Target="../tags/tag51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tags" Target="../tags/tag498.xml"/><Relationship Id="rId30" Type="http://schemas.openxmlformats.org/officeDocument/2006/relationships/tags" Target="../tags/tag501.xml"/><Relationship Id="rId35" Type="http://schemas.openxmlformats.org/officeDocument/2006/relationships/tags" Target="../tags/tag506.xml"/><Relationship Id="rId43" Type="http://schemas.openxmlformats.org/officeDocument/2006/relationships/tags" Target="../tags/tag514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theme" Target="../theme/theme4.xml"/><Relationship Id="rId33" Type="http://schemas.openxmlformats.org/officeDocument/2006/relationships/tags" Target="../tags/tag504.xml"/><Relationship Id="rId38" Type="http://schemas.openxmlformats.org/officeDocument/2006/relationships/tags" Target="../tags/tag509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86.xml"/><Relationship Id="rId41" Type="http://schemas.openxmlformats.org/officeDocument/2006/relationships/tags" Target="../tags/tag5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4376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75743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C46A56B3-038C-4267-8BFF-3CB1641266A2}"/>
              </a:ext>
            </a:extLst>
          </p:cNvPr>
          <p:cNvGrpSpPr/>
          <p:nvPr userDrawn="1"/>
        </p:nvGrpSpPr>
        <p:grpSpPr>
          <a:xfrm>
            <a:off x="10317304" y="3150223"/>
            <a:ext cx="1393698" cy="958286"/>
            <a:chOff x="10162879" y="3243772"/>
            <a:chExt cx="1393698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906AC20A-913B-4E4B-B2F7-69D872823F96}"/>
                </a:ext>
              </a:extLst>
            </p:cNvPr>
            <p:cNvSpPr txBox="1"/>
            <p:nvPr/>
          </p:nvSpPr>
          <p:spPr>
            <a:xfrm>
              <a:off x="10886522" y="324377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79C5DA35-21E7-4EF9-B65A-D6D321241CA3}"/>
                </a:ext>
              </a:extLst>
            </p:cNvPr>
            <p:cNvSpPr txBox="1"/>
            <p:nvPr/>
          </p:nvSpPr>
          <p:spPr>
            <a:xfrm>
              <a:off x="10886522" y="3615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882FC6-9CFC-4D76-8724-BFFBFDB03B96}"/>
                </a:ext>
              </a:extLst>
            </p:cNvPr>
            <p:cNvSpPr txBox="1"/>
            <p:nvPr/>
          </p:nvSpPr>
          <p:spPr>
            <a:xfrm>
              <a:off x="10886522" y="398661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5443C576-B76D-430A-8FF9-52DE3517CB9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B13667C4-FE4E-44C1-8B5C-D0077D5339A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4CFD27A-C1D0-41E9-AF09-1489D525CF8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6E7C091-7D2F-486B-A0D2-8B7A596155DF}"/>
              </a:ext>
            </a:extLst>
          </p:cNvPr>
          <p:cNvGrpSpPr/>
          <p:nvPr userDrawn="1"/>
        </p:nvGrpSpPr>
        <p:grpSpPr>
          <a:xfrm>
            <a:off x="10688315" y="1145373"/>
            <a:ext cx="1022687" cy="1731859"/>
            <a:chOff x="7723680" y="1702457"/>
            <a:chExt cx="1022687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FF45144A-B8E7-4FC2-8490-B25557A76D2B}"/>
                </a:ext>
              </a:extLst>
            </p:cNvPr>
            <p:cNvSpPr txBox="1"/>
            <p:nvPr/>
          </p:nvSpPr>
          <p:spPr>
            <a:xfrm>
              <a:off x="8076312" y="1709816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299EB5C2-B079-47EC-B0A8-D01B470B5AF0}"/>
                </a:ext>
              </a:extLst>
            </p:cNvPr>
            <p:cNvSpPr txBox="1"/>
            <p:nvPr/>
          </p:nvSpPr>
          <p:spPr>
            <a:xfrm>
              <a:off x="8076312" y="2085275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6BE7063F-E26B-4431-B8D8-B78CEBC01E7B}"/>
                </a:ext>
              </a:extLst>
            </p:cNvPr>
            <p:cNvSpPr txBox="1"/>
            <p:nvPr/>
          </p:nvSpPr>
          <p:spPr>
            <a:xfrm>
              <a:off x="8076312" y="246073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53458EC5-7442-4F21-B56A-90ECB5764E2B}"/>
                </a:ext>
              </a:extLst>
            </p:cNvPr>
            <p:cNvSpPr txBox="1"/>
            <p:nvPr/>
          </p:nvSpPr>
          <p:spPr>
            <a:xfrm>
              <a:off x="8076312" y="2836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1840DDA9-BA9D-448D-900F-3786C17E6D85}"/>
                </a:ext>
              </a:extLst>
            </p:cNvPr>
            <p:cNvSpPr txBox="1"/>
            <p:nvPr/>
          </p:nvSpPr>
          <p:spPr>
            <a:xfrm>
              <a:off x="8076312" y="321165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57B2D922-00D1-4A82-9EDE-2AA8A6196C4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F3A0FC84-37A3-476F-BEC9-8D2FF5DA7794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58E9EB41-4207-4C7E-A1AD-7D99E2A05F6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774C6B54-F688-424D-9EE1-81C8CAE9CB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597A2F92-BBFE-48D8-9112-5820FF65E66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5BB58F72-A243-401B-A1EA-E853594F7AB3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DF698E17-0825-4775-8B59-74DE5638906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A7F78B2-7528-4A70-A321-A6FFE792389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956E899B-086E-496F-B14E-6E9ECD0DE2C8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EB7C4544-A713-4E6A-8912-755F8FF02DD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632F69C-FD97-4715-8549-9BBA72BD092E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3EC74969-D3A3-4404-9C1D-DC60B727477C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943678DB-F026-47D9-8E5E-4AFFD0B3164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56012B33-68F2-44DC-9FB7-41FC097041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7CA9A881-2096-4F04-A95F-86155BE900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A4C89F7-1182-42B2-A8C4-B8DCF2169550}"/>
              </a:ext>
            </a:extLst>
          </p:cNvPr>
          <p:cNvGrpSpPr/>
          <p:nvPr userDrawn="1"/>
        </p:nvGrpSpPr>
        <p:grpSpPr>
          <a:xfrm>
            <a:off x="10714801" y="4381500"/>
            <a:ext cx="996201" cy="1717282"/>
            <a:chOff x="10652400" y="4322824"/>
            <a:chExt cx="996201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9479B6C0-6A7F-4233-AF4F-CBD056A1E731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DF6D19B0-3D4A-472A-A186-F051DD38956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2B68DED-974D-4DF6-95C9-25CC157C180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1CB2A26-6D35-4D8A-B689-875522D5FB8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6E7DF55-9523-4469-8FA9-721A396C54D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6D54AA88-7128-4DAD-BC4B-51A03A9E3811}"/>
                </a:ext>
              </a:extLst>
            </p:cNvPr>
            <p:cNvSpPr txBox="1"/>
            <p:nvPr/>
          </p:nvSpPr>
          <p:spPr>
            <a:xfrm>
              <a:off x="10978546" y="432282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69936BE-7E2C-4C86-990A-1943A458BC84}"/>
                </a:ext>
              </a:extLst>
            </p:cNvPr>
            <p:cNvSpPr txBox="1"/>
            <p:nvPr/>
          </p:nvSpPr>
          <p:spPr>
            <a:xfrm>
              <a:off x="10978546" y="470232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9A10C17-B42C-4E94-B6BA-7C1251CFB55B}"/>
                </a:ext>
              </a:extLst>
            </p:cNvPr>
            <p:cNvSpPr txBox="1"/>
            <p:nvPr/>
          </p:nvSpPr>
          <p:spPr>
            <a:xfrm>
              <a:off x="10978546" y="5081820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EFE6B315-9331-4192-8E80-32085972CC15}"/>
                </a:ext>
              </a:extLst>
            </p:cNvPr>
            <p:cNvSpPr txBox="1"/>
            <p:nvPr/>
          </p:nvSpPr>
          <p:spPr>
            <a:xfrm>
              <a:off x="10978546" y="5453241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14F480F1-8D4A-4FA8-A5FA-05783DC8FA54}"/>
                </a:ext>
              </a:extLst>
            </p:cNvPr>
            <p:cNvSpPr txBox="1"/>
            <p:nvPr/>
          </p:nvSpPr>
          <p:spPr>
            <a:xfrm>
              <a:off x="10978545" y="582466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CE44A91D-EF0F-41CA-8B48-40E94EA0C981}"/>
              </a:ext>
            </a:extLst>
          </p:cNvPr>
          <p:cNvSpPr txBox="1"/>
          <p:nvPr userDrawn="1"/>
        </p:nvSpPr>
        <p:spPr>
          <a:xfrm>
            <a:off x="10154558" y="6615212"/>
            <a:ext cx="1383392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00">
                <a:solidFill>
                  <a:schemeClr val="tx1"/>
                </a:solidFill>
              </a:rPr>
              <a:t>McKinsey &amp; Compan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EBE566-720E-9FAC-0DFA-BA7313C21EB4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894" r:id="rId2"/>
    <p:sldLayoutId id="2147483898" r:id="rId3"/>
    <p:sldLayoutId id="2147483899" r:id="rId4"/>
    <p:sldLayoutId id="2147483900" r:id="rId5"/>
    <p:sldLayoutId id="2147483654" r:id="rId6"/>
    <p:sldLayoutId id="2147483807" r:id="rId7"/>
    <p:sldLayoutId id="2147483800" r:id="rId8"/>
    <p:sldLayoutId id="2147483659" r:id="rId9"/>
    <p:sldLayoutId id="2147483804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706" r:id="rId17"/>
    <p:sldLayoutId id="2147483718" r:id="rId18"/>
    <p:sldLayoutId id="2147484109" r:id="rId19"/>
    <p:sldLayoutId id="2147484110" r:id="rId20"/>
    <p:sldLayoutId id="2147484111" r:id="rId21"/>
    <p:sldLayoutId id="2147484115" r:id="rId22"/>
    <p:sldLayoutId id="2147484268" r:id="rId23"/>
    <p:sldLayoutId id="2147484545" r:id="rId2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282336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592" imgH="591" progId="TCLayout.ActiveDocument.1">
                  <p:embed/>
                </p:oleObj>
              </mc:Choice>
              <mc:Fallback>
                <p:oleObj name="think-cell Slide" r:id="rId4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757439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D5B1A18B-1A31-4AED-AC63-8BC85529CC13}"/>
              </a:ext>
            </a:extLst>
          </p:cNvPr>
          <p:cNvGrpSpPr/>
          <p:nvPr userDrawn="1"/>
        </p:nvGrpSpPr>
        <p:grpSpPr>
          <a:xfrm>
            <a:off x="10714801" y="4381500"/>
            <a:ext cx="996201" cy="1717282"/>
            <a:chOff x="10554770" y="4322824"/>
            <a:chExt cx="996201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10F45B92-5694-4F18-9B2D-83EDE0F9F0DF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46697A85-AA4D-41C0-A608-87D6DF4718C6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AE374357-5DFC-4AC4-9A07-96BDA62F7084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F8D9E46A-9AFD-4497-BEA1-F45AC4EC5576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35600247-B8A6-4510-ABDF-50B5B068CCA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B9D21CD0-583B-496D-9A02-8700E71FD7B3}"/>
                </a:ext>
              </a:extLst>
            </p:cNvPr>
            <p:cNvSpPr txBox="1"/>
            <p:nvPr/>
          </p:nvSpPr>
          <p:spPr>
            <a:xfrm>
              <a:off x="10880916" y="432282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0AC4FD13-2387-4A05-A0E6-D7693408ABFD}"/>
                </a:ext>
              </a:extLst>
            </p:cNvPr>
            <p:cNvSpPr txBox="1"/>
            <p:nvPr/>
          </p:nvSpPr>
          <p:spPr>
            <a:xfrm>
              <a:off x="10880916" y="470232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01487917-7AA2-48EF-8FD0-4FC72B974087}"/>
                </a:ext>
              </a:extLst>
            </p:cNvPr>
            <p:cNvSpPr txBox="1"/>
            <p:nvPr/>
          </p:nvSpPr>
          <p:spPr>
            <a:xfrm>
              <a:off x="10880916" y="5081820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D1DC7CA7-2E63-4BAD-A9E0-555A6CD6DC23}"/>
                </a:ext>
              </a:extLst>
            </p:cNvPr>
            <p:cNvSpPr txBox="1"/>
            <p:nvPr/>
          </p:nvSpPr>
          <p:spPr>
            <a:xfrm>
              <a:off x="10880916" y="5453241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89830604-FDBC-42B5-A365-C564138A9EAA}"/>
                </a:ext>
              </a:extLst>
            </p:cNvPr>
            <p:cNvSpPr txBox="1"/>
            <p:nvPr/>
          </p:nvSpPr>
          <p:spPr>
            <a:xfrm>
              <a:off x="10880915" y="582466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06FE578A-E91A-439F-9E27-7705FFB760AC}"/>
              </a:ext>
            </a:extLst>
          </p:cNvPr>
          <p:cNvGrpSpPr/>
          <p:nvPr userDrawn="1"/>
        </p:nvGrpSpPr>
        <p:grpSpPr>
          <a:xfrm>
            <a:off x="10317304" y="3150831"/>
            <a:ext cx="1393698" cy="958286"/>
            <a:chOff x="10162879" y="3243772"/>
            <a:chExt cx="1393698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06BB75B1-9457-44A5-B850-981B7B2A8C4A}"/>
                </a:ext>
              </a:extLst>
            </p:cNvPr>
            <p:cNvSpPr txBox="1"/>
            <p:nvPr/>
          </p:nvSpPr>
          <p:spPr>
            <a:xfrm>
              <a:off x="10886522" y="324377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A668281D-3FA9-44A3-BCCB-50A5CE3D5740}"/>
                </a:ext>
              </a:extLst>
            </p:cNvPr>
            <p:cNvSpPr txBox="1"/>
            <p:nvPr/>
          </p:nvSpPr>
          <p:spPr>
            <a:xfrm>
              <a:off x="10886522" y="3615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E227D6D3-848E-4F25-8AA2-8EBCF7255A3B}"/>
                </a:ext>
              </a:extLst>
            </p:cNvPr>
            <p:cNvSpPr txBox="1"/>
            <p:nvPr/>
          </p:nvSpPr>
          <p:spPr>
            <a:xfrm>
              <a:off x="10886522" y="398661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215CA6C7-2BCD-4D56-B174-8B7FFEFAD7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5831F0F4-A77F-4855-8679-2F61493EBE7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A54751F6-7AB2-4CC5-A6EE-25B4BE9254B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BB966F3C-7B9F-4B0D-A494-BC381ABC77AF}"/>
              </a:ext>
            </a:extLst>
          </p:cNvPr>
          <p:cNvGrpSpPr/>
          <p:nvPr userDrawn="1"/>
        </p:nvGrpSpPr>
        <p:grpSpPr>
          <a:xfrm>
            <a:off x="10684859" y="1146588"/>
            <a:ext cx="1022687" cy="1731859"/>
            <a:chOff x="7716535" y="2630582"/>
            <a:chExt cx="1022687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D26C9D2E-57B9-4660-B06C-60DE417F1414}"/>
                </a:ext>
              </a:extLst>
            </p:cNvPr>
            <p:cNvSpPr txBox="1"/>
            <p:nvPr/>
          </p:nvSpPr>
          <p:spPr>
            <a:xfrm>
              <a:off x="8069167" y="2637941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F5200BC7-F669-4934-AF53-B1C1F07DC3A6}"/>
                </a:ext>
              </a:extLst>
            </p:cNvPr>
            <p:cNvSpPr txBox="1"/>
            <p:nvPr/>
          </p:nvSpPr>
          <p:spPr>
            <a:xfrm>
              <a:off x="8069167" y="3013400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8" name="Legend3" hidden="1">
              <a:extLst>
                <a:ext uri="{FF2B5EF4-FFF2-40B4-BE49-F238E27FC236}">
                  <a16:creationId xmlns:a16="http://schemas.microsoft.com/office/drawing/2014/main" id="{1141A017-2CB4-47FE-AB42-0942F4244487}"/>
                </a:ext>
              </a:extLst>
            </p:cNvPr>
            <p:cNvSpPr txBox="1"/>
            <p:nvPr/>
          </p:nvSpPr>
          <p:spPr>
            <a:xfrm>
              <a:off x="8069167" y="3388859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9" name="Legend4" hidden="1">
              <a:extLst>
                <a:ext uri="{FF2B5EF4-FFF2-40B4-BE49-F238E27FC236}">
                  <a16:creationId xmlns:a16="http://schemas.microsoft.com/office/drawing/2014/main" id="{72B86160-8DF8-4D3A-8FAE-28BC73892D91}"/>
                </a:ext>
              </a:extLst>
            </p:cNvPr>
            <p:cNvSpPr txBox="1"/>
            <p:nvPr/>
          </p:nvSpPr>
          <p:spPr>
            <a:xfrm>
              <a:off x="8069167" y="3764318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0" name="Legend5" hidden="1">
              <a:extLst>
                <a:ext uri="{FF2B5EF4-FFF2-40B4-BE49-F238E27FC236}">
                  <a16:creationId xmlns:a16="http://schemas.microsoft.com/office/drawing/2014/main" id="{A11583E5-5CAF-401F-963A-478FF418C3F4}"/>
                </a:ext>
              </a:extLst>
            </p:cNvPr>
            <p:cNvSpPr txBox="1"/>
            <p:nvPr/>
          </p:nvSpPr>
          <p:spPr>
            <a:xfrm>
              <a:off x="8069167" y="4139779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8" name="MoonLegend1" hidden="1">
              <a:extLst>
                <a:ext uri="{FF2B5EF4-FFF2-40B4-BE49-F238E27FC236}">
                  <a16:creationId xmlns:a16="http://schemas.microsoft.com/office/drawing/2014/main" id="{E1CA3548-C4F6-4002-9575-D0F9D0353BE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3EB6285-5926-48BA-98BF-6D1DCE4500D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902E878A-CDFC-479A-BBB5-EB2B639C3FB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9" name="MoonLegend2" hidden="1">
              <a:extLst>
                <a:ext uri="{FF2B5EF4-FFF2-40B4-BE49-F238E27FC236}">
                  <a16:creationId xmlns:a16="http://schemas.microsoft.com/office/drawing/2014/main" id="{6D3F1FCC-5473-4080-9025-418A5D19E90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CB06AE47-9658-446F-89C3-9EEF360A9E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F7A5630A-3133-4E76-B664-912E3DAA3EF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0" name="MoonLegend3" hidden="1">
              <a:extLst>
                <a:ext uri="{FF2B5EF4-FFF2-40B4-BE49-F238E27FC236}">
                  <a16:creationId xmlns:a16="http://schemas.microsoft.com/office/drawing/2014/main" id="{A201D6B7-7F22-4165-9D27-8B4F428151A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35A9EE86-8048-4E17-A665-B42F92FA747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41AB4FB1-C663-4044-A6B2-1A9CCFCDD0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4" hidden="1">
              <a:extLst>
                <a:ext uri="{FF2B5EF4-FFF2-40B4-BE49-F238E27FC236}">
                  <a16:creationId xmlns:a16="http://schemas.microsoft.com/office/drawing/2014/main" id="{25757B28-CF0E-401D-BB59-B1E1A16A8FD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76BDEA37-1E61-4160-BE6D-B075195B21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5F9038F7-0925-4981-914F-7DBC56873DE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5" hidden="1">
              <a:extLst>
                <a:ext uri="{FF2B5EF4-FFF2-40B4-BE49-F238E27FC236}">
                  <a16:creationId xmlns:a16="http://schemas.microsoft.com/office/drawing/2014/main" id="{7812A0CC-265D-4EB6-B68C-50A37B8131C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2DA27B6C-621E-42CA-BCDF-38E851B7AE4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6618F86C-2406-40F1-BB1F-B010EEA4BDA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9F857BED-2DB0-4EA1-99EB-A80583177AA0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6" r:id="rId5"/>
    <p:sldLayoutId id="2147483866" r:id="rId6"/>
    <p:sldLayoutId id="2147483867" r:id="rId7"/>
    <p:sldLayoutId id="2147483868" r:id="rId8"/>
    <p:sldLayoutId id="2147483870" r:id="rId9"/>
    <p:sldLayoutId id="2147483871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77" r:id="rId17"/>
    <p:sldLayoutId id="2147483878" r:id="rId18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4376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75743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C46A56B3-038C-4267-8BFF-3CB1641266A2}"/>
              </a:ext>
            </a:extLst>
          </p:cNvPr>
          <p:cNvGrpSpPr/>
          <p:nvPr userDrawn="1"/>
        </p:nvGrpSpPr>
        <p:grpSpPr>
          <a:xfrm>
            <a:off x="10317304" y="3150223"/>
            <a:ext cx="1393698" cy="958286"/>
            <a:chOff x="10162879" y="3243772"/>
            <a:chExt cx="1393698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906AC20A-913B-4E4B-B2F7-69D872823F96}"/>
                </a:ext>
              </a:extLst>
            </p:cNvPr>
            <p:cNvSpPr txBox="1"/>
            <p:nvPr/>
          </p:nvSpPr>
          <p:spPr>
            <a:xfrm>
              <a:off x="10886522" y="324377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79C5DA35-21E7-4EF9-B65A-D6D321241CA3}"/>
                </a:ext>
              </a:extLst>
            </p:cNvPr>
            <p:cNvSpPr txBox="1"/>
            <p:nvPr/>
          </p:nvSpPr>
          <p:spPr>
            <a:xfrm>
              <a:off x="10886522" y="3615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882FC6-9CFC-4D76-8724-BFFBFDB03B96}"/>
                </a:ext>
              </a:extLst>
            </p:cNvPr>
            <p:cNvSpPr txBox="1"/>
            <p:nvPr/>
          </p:nvSpPr>
          <p:spPr>
            <a:xfrm>
              <a:off x="10886522" y="398661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5443C576-B76D-430A-8FF9-52DE3517CB9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B13667C4-FE4E-44C1-8B5C-D0077D5339A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4CFD27A-C1D0-41E9-AF09-1489D525CF8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6E7C091-7D2F-486B-A0D2-8B7A596155DF}"/>
              </a:ext>
            </a:extLst>
          </p:cNvPr>
          <p:cNvGrpSpPr/>
          <p:nvPr userDrawn="1"/>
        </p:nvGrpSpPr>
        <p:grpSpPr>
          <a:xfrm>
            <a:off x="10688315" y="1145373"/>
            <a:ext cx="1022687" cy="1731859"/>
            <a:chOff x="7723680" y="1702457"/>
            <a:chExt cx="1022687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FF45144A-B8E7-4FC2-8490-B25557A76D2B}"/>
                </a:ext>
              </a:extLst>
            </p:cNvPr>
            <p:cNvSpPr txBox="1"/>
            <p:nvPr/>
          </p:nvSpPr>
          <p:spPr>
            <a:xfrm>
              <a:off x="8076312" y="1709816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299EB5C2-B079-47EC-B0A8-D01B470B5AF0}"/>
                </a:ext>
              </a:extLst>
            </p:cNvPr>
            <p:cNvSpPr txBox="1"/>
            <p:nvPr/>
          </p:nvSpPr>
          <p:spPr>
            <a:xfrm>
              <a:off x="8076312" y="2085275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6BE7063F-E26B-4431-B8D8-B78CEBC01E7B}"/>
                </a:ext>
              </a:extLst>
            </p:cNvPr>
            <p:cNvSpPr txBox="1"/>
            <p:nvPr/>
          </p:nvSpPr>
          <p:spPr>
            <a:xfrm>
              <a:off x="8076312" y="246073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53458EC5-7442-4F21-B56A-90ECB5764E2B}"/>
                </a:ext>
              </a:extLst>
            </p:cNvPr>
            <p:cNvSpPr txBox="1"/>
            <p:nvPr/>
          </p:nvSpPr>
          <p:spPr>
            <a:xfrm>
              <a:off x="8076312" y="2836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1840DDA9-BA9D-448D-900F-3786C17E6D85}"/>
                </a:ext>
              </a:extLst>
            </p:cNvPr>
            <p:cNvSpPr txBox="1"/>
            <p:nvPr/>
          </p:nvSpPr>
          <p:spPr>
            <a:xfrm>
              <a:off x="8076312" y="321165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57B2D922-00D1-4A82-9EDE-2AA8A6196C4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F3A0FC84-37A3-476F-BEC9-8D2FF5DA7794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58E9EB41-4207-4C7E-A1AD-7D99E2A05F6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774C6B54-F688-424D-9EE1-81C8CAE9CB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597A2F92-BBFE-48D8-9112-5820FF65E66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5BB58F72-A243-401B-A1EA-E853594F7AB3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DF698E17-0825-4775-8B59-74DE5638906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A7F78B2-7528-4A70-A321-A6FFE792389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956E899B-086E-496F-B14E-6E9ECD0DE2C8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EB7C4544-A713-4E6A-8912-755F8FF02DD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632F69C-FD97-4715-8549-9BBA72BD092E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3EC74969-D3A3-4404-9C1D-DC60B727477C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943678DB-F026-47D9-8E5E-4AFFD0B3164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56012B33-68F2-44DC-9FB7-41FC097041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7CA9A881-2096-4F04-A95F-86155BE900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A4C89F7-1182-42B2-A8C4-B8DCF2169550}"/>
              </a:ext>
            </a:extLst>
          </p:cNvPr>
          <p:cNvGrpSpPr/>
          <p:nvPr userDrawn="1"/>
        </p:nvGrpSpPr>
        <p:grpSpPr>
          <a:xfrm>
            <a:off x="10714801" y="4381500"/>
            <a:ext cx="996201" cy="1717282"/>
            <a:chOff x="10652400" y="4322824"/>
            <a:chExt cx="996201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9479B6C0-6A7F-4233-AF4F-CBD056A1E731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DF6D19B0-3D4A-472A-A186-F051DD38956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2B68DED-974D-4DF6-95C9-25CC157C180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1CB2A26-6D35-4D8A-B689-875522D5FB8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6E7DF55-9523-4469-8FA9-721A396C54D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6D54AA88-7128-4DAD-BC4B-51A03A9E3811}"/>
                </a:ext>
              </a:extLst>
            </p:cNvPr>
            <p:cNvSpPr txBox="1"/>
            <p:nvPr/>
          </p:nvSpPr>
          <p:spPr>
            <a:xfrm>
              <a:off x="10978546" y="432282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69936BE-7E2C-4C86-990A-1943A458BC84}"/>
                </a:ext>
              </a:extLst>
            </p:cNvPr>
            <p:cNvSpPr txBox="1"/>
            <p:nvPr/>
          </p:nvSpPr>
          <p:spPr>
            <a:xfrm>
              <a:off x="10978546" y="470232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9A10C17-B42C-4E94-B6BA-7C1251CFB55B}"/>
                </a:ext>
              </a:extLst>
            </p:cNvPr>
            <p:cNvSpPr txBox="1"/>
            <p:nvPr/>
          </p:nvSpPr>
          <p:spPr>
            <a:xfrm>
              <a:off x="10978546" y="5081820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EFE6B315-9331-4192-8E80-32085972CC15}"/>
                </a:ext>
              </a:extLst>
            </p:cNvPr>
            <p:cNvSpPr txBox="1"/>
            <p:nvPr/>
          </p:nvSpPr>
          <p:spPr>
            <a:xfrm>
              <a:off x="10978546" y="5453241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14F480F1-8D4A-4FA8-A5FA-05783DC8FA54}"/>
                </a:ext>
              </a:extLst>
            </p:cNvPr>
            <p:cNvSpPr txBox="1"/>
            <p:nvPr/>
          </p:nvSpPr>
          <p:spPr>
            <a:xfrm>
              <a:off x="10978545" y="582466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CE44A91D-EF0F-41CA-8B48-40E94EA0C981}"/>
              </a:ext>
            </a:extLst>
          </p:cNvPr>
          <p:cNvSpPr txBox="1"/>
          <p:nvPr userDrawn="1"/>
        </p:nvSpPr>
        <p:spPr>
          <a:xfrm>
            <a:off x="10154558" y="6615212"/>
            <a:ext cx="1383392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00">
                <a:solidFill>
                  <a:schemeClr val="tx1"/>
                </a:solidFill>
              </a:rPr>
              <a:t>McKinsey &amp; Compan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EBE566-720E-9FAC-0DFA-BA7313C21EB4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02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  <p:sldLayoutId id="2147484583" r:id="rId12"/>
    <p:sldLayoutId id="2147484584" r:id="rId13"/>
    <p:sldLayoutId id="2147484585" r:id="rId14"/>
    <p:sldLayoutId id="2147484586" r:id="rId15"/>
    <p:sldLayoutId id="2147484587" r:id="rId16"/>
    <p:sldLayoutId id="2147484588" r:id="rId17"/>
    <p:sldLayoutId id="2147484589" r:id="rId18"/>
    <p:sldLayoutId id="2147484590" r:id="rId19"/>
    <p:sldLayoutId id="2147484591" r:id="rId20"/>
    <p:sldLayoutId id="2147484592" r:id="rId21"/>
    <p:sldLayoutId id="2147484593" r:id="rId22"/>
    <p:sldLayoutId id="2147484594" r:id="rId23"/>
    <p:sldLayoutId id="2147484596" r:id="rId2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4376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75743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C46A56B3-038C-4267-8BFF-3CB1641266A2}"/>
              </a:ext>
            </a:extLst>
          </p:cNvPr>
          <p:cNvGrpSpPr/>
          <p:nvPr userDrawn="1"/>
        </p:nvGrpSpPr>
        <p:grpSpPr>
          <a:xfrm>
            <a:off x="10317304" y="3150223"/>
            <a:ext cx="1393698" cy="958286"/>
            <a:chOff x="10162879" y="3243772"/>
            <a:chExt cx="1393698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906AC20A-913B-4E4B-B2F7-69D872823F96}"/>
                </a:ext>
              </a:extLst>
            </p:cNvPr>
            <p:cNvSpPr txBox="1"/>
            <p:nvPr/>
          </p:nvSpPr>
          <p:spPr>
            <a:xfrm>
              <a:off x="10886522" y="324377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79C5DA35-21E7-4EF9-B65A-D6D321241CA3}"/>
                </a:ext>
              </a:extLst>
            </p:cNvPr>
            <p:cNvSpPr txBox="1"/>
            <p:nvPr/>
          </p:nvSpPr>
          <p:spPr>
            <a:xfrm>
              <a:off x="10886522" y="3615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882FC6-9CFC-4D76-8724-BFFBFDB03B96}"/>
                </a:ext>
              </a:extLst>
            </p:cNvPr>
            <p:cNvSpPr txBox="1"/>
            <p:nvPr/>
          </p:nvSpPr>
          <p:spPr>
            <a:xfrm>
              <a:off x="10886522" y="398661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5443C576-B76D-430A-8FF9-52DE3517CB9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B13667C4-FE4E-44C1-8B5C-D0077D5339A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4CFD27A-C1D0-41E9-AF09-1489D525CF8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6E7C091-7D2F-486B-A0D2-8B7A596155DF}"/>
              </a:ext>
            </a:extLst>
          </p:cNvPr>
          <p:cNvGrpSpPr/>
          <p:nvPr userDrawn="1"/>
        </p:nvGrpSpPr>
        <p:grpSpPr>
          <a:xfrm>
            <a:off x="10688315" y="1145373"/>
            <a:ext cx="1022687" cy="1731859"/>
            <a:chOff x="7723680" y="1702457"/>
            <a:chExt cx="1022687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FF45144A-B8E7-4FC2-8490-B25557A76D2B}"/>
                </a:ext>
              </a:extLst>
            </p:cNvPr>
            <p:cNvSpPr txBox="1"/>
            <p:nvPr/>
          </p:nvSpPr>
          <p:spPr>
            <a:xfrm>
              <a:off x="8076312" y="1709816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299EB5C2-B079-47EC-B0A8-D01B470B5AF0}"/>
                </a:ext>
              </a:extLst>
            </p:cNvPr>
            <p:cNvSpPr txBox="1"/>
            <p:nvPr/>
          </p:nvSpPr>
          <p:spPr>
            <a:xfrm>
              <a:off x="8076312" y="2085275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6BE7063F-E26B-4431-B8D8-B78CEBC01E7B}"/>
                </a:ext>
              </a:extLst>
            </p:cNvPr>
            <p:cNvSpPr txBox="1"/>
            <p:nvPr/>
          </p:nvSpPr>
          <p:spPr>
            <a:xfrm>
              <a:off x="8076312" y="246073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53458EC5-7442-4F21-B56A-90ECB5764E2B}"/>
                </a:ext>
              </a:extLst>
            </p:cNvPr>
            <p:cNvSpPr txBox="1"/>
            <p:nvPr/>
          </p:nvSpPr>
          <p:spPr>
            <a:xfrm>
              <a:off x="8076312" y="2836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1840DDA9-BA9D-448D-900F-3786C17E6D85}"/>
                </a:ext>
              </a:extLst>
            </p:cNvPr>
            <p:cNvSpPr txBox="1"/>
            <p:nvPr/>
          </p:nvSpPr>
          <p:spPr>
            <a:xfrm>
              <a:off x="8076312" y="321165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57B2D922-00D1-4A82-9EDE-2AA8A6196C4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F3A0FC84-37A3-476F-BEC9-8D2FF5DA7794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58E9EB41-4207-4C7E-A1AD-7D99E2A05F6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774C6B54-F688-424D-9EE1-81C8CAE9CB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597A2F92-BBFE-48D8-9112-5820FF65E66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5BB58F72-A243-401B-A1EA-E853594F7AB3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DF698E17-0825-4775-8B59-74DE5638906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A7F78B2-7528-4A70-A321-A6FFE792389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956E899B-086E-496F-B14E-6E9ECD0DE2C8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EB7C4544-A713-4E6A-8912-755F8FF02DD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632F69C-FD97-4715-8549-9BBA72BD092E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3EC74969-D3A3-4404-9C1D-DC60B727477C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943678DB-F026-47D9-8E5E-4AFFD0B3164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56012B33-68F2-44DC-9FB7-41FC097041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7CA9A881-2096-4F04-A95F-86155BE900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A4C89F7-1182-42B2-A8C4-B8DCF2169550}"/>
              </a:ext>
            </a:extLst>
          </p:cNvPr>
          <p:cNvGrpSpPr/>
          <p:nvPr userDrawn="1"/>
        </p:nvGrpSpPr>
        <p:grpSpPr>
          <a:xfrm>
            <a:off x="10714801" y="4381500"/>
            <a:ext cx="996201" cy="1717282"/>
            <a:chOff x="10652400" y="4322824"/>
            <a:chExt cx="996201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9479B6C0-6A7F-4233-AF4F-CBD056A1E731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DF6D19B0-3D4A-472A-A186-F051DD38956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2B68DED-974D-4DF6-95C9-25CC157C180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1CB2A26-6D35-4D8A-B689-875522D5FB8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6E7DF55-9523-4469-8FA9-721A396C54D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6D54AA88-7128-4DAD-BC4B-51A03A9E3811}"/>
                </a:ext>
              </a:extLst>
            </p:cNvPr>
            <p:cNvSpPr txBox="1"/>
            <p:nvPr/>
          </p:nvSpPr>
          <p:spPr>
            <a:xfrm>
              <a:off x="10978546" y="432282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69936BE-7E2C-4C86-990A-1943A458BC84}"/>
                </a:ext>
              </a:extLst>
            </p:cNvPr>
            <p:cNvSpPr txBox="1"/>
            <p:nvPr/>
          </p:nvSpPr>
          <p:spPr>
            <a:xfrm>
              <a:off x="10978546" y="470232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9A10C17-B42C-4E94-B6BA-7C1251CFB55B}"/>
                </a:ext>
              </a:extLst>
            </p:cNvPr>
            <p:cNvSpPr txBox="1"/>
            <p:nvPr/>
          </p:nvSpPr>
          <p:spPr>
            <a:xfrm>
              <a:off x="10978546" y="5081820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EFE6B315-9331-4192-8E80-32085972CC15}"/>
                </a:ext>
              </a:extLst>
            </p:cNvPr>
            <p:cNvSpPr txBox="1"/>
            <p:nvPr/>
          </p:nvSpPr>
          <p:spPr>
            <a:xfrm>
              <a:off x="10978546" y="5453241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14F480F1-8D4A-4FA8-A5FA-05783DC8FA54}"/>
                </a:ext>
              </a:extLst>
            </p:cNvPr>
            <p:cNvSpPr txBox="1"/>
            <p:nvPr/>
          </p:nvSpPr>
          <p:spPr>
            <a:xfrm>
              <a:off x="10978545" y="582466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CE44A91D-EF0F-41CA-8B48-40E94EA0C981}"/>
              </a:ext>
            </a:extLst>
          </p:cNvPr>
          <p:cNvSpPr txBox="1"/>
          <p:nvPr userDrawn="1"/>
        </p:nvSpPr>
        <p:spPr>
          <a:xfrm>
            <a:off x="10154558" y="6615212"/>
            <a:ext cx="1383392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00">
                <a:solidFill>
                  <a:schemeClr val="tx1"/>
                </a:solidFill>
              </a:rPr>
              <a:t>McKinsey &amp; Compan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EBE566-720E-9FAC-0DFA-BA7313C21EB4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5418" y="6226880"/>
            <a:ext cx="1051455" cy="47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95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8" r:id="rId1"/>
    <p:sldLayoutId id="2147484649" r:id="rId2"/>
    <p:sldLayoutId id="2147484650" r:id="rId3"/>
    <p:sldLayoutId id="2147484651" r:id="rId4"/>
    <p:sldLayoutId id="2147484652" r:id="rId5"/>
    <p:sldLayoutId id="2147484653" r:id="rId6"/>
    <p:sldLayoutId id="2147484654" r:id="rId7"/>
    <p:sldLayoutId id="2147484655" r:id="rId8"/>
    <p:sldLayoutId id="2147484656" r:id="rId9"/>
    <p:sldLayoutId id="2147484657" r:id="rId10"/>
    <p:sldLayoutId id="2147484658" r:id="rId11"/>
    <p:sldLayoutId id="2147484659" r:id="rId12"/>
    <p:sldLayoutId id="2147484660" r:id="rId13"/>
    <p:sldLayoutId id="2147484661" r:id="rId14"/>
    <p:sldLayoutId id="2147484662" r:id="rId15"/>
    <p:sldLayoutId id="2147484663" r:id="rId16"/>
    <p:sldLayoutId id="2147484664" r:id="rId17"/>
    <p:sldLayoutId id="2147484665" r:id="rId18"/>
    <p:sldLayoutId id="2147484666" r:id="rId19"/>
    <p:sldLayoutId id="2147484667" r:id="rId20"/>
    <p:sldLayoutId id="2147484668" r:id="rId21"/>
    <p:sldLayoutId id="2147484669" r:id="rId22"/>
    <p:sldLayoutId id="2147484670" r:id="rId23"/>
    <p:sldLayoutId id="2147484672" r:id="rId2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82.xml"/><Relationship Id="rId2" Type="http://schemas.openxmlformats.org/officeDocument/2006/relationships/tags" Target="../tags/tag681.xml"/><Relationship Id="rId1" Type="http://schemas.openxmlformats.org/officeDocument/2006/relationships/tags" Target="../tags/tag680.xml"/><Relationship Id="rId5" Type="http://schemas.openxmlformats.org/officeDocument/2006/relationships/image" Target="../media/image38.png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329139-9408-F75D-F4AC-0BCC0E2D4E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941" y="5599113"/>
            <a:ext cx="4872756" cy="215444"/>
          </a:xfrm>
        </p:spPr>
        <p:txBody>
          <a:bodyPr/>
          <a:lstStyle/>
          <a:p>
            <a:r>
              <a:rPr lang="en-US" dirty="0"/>
              <a:t>04 Mei 2026</a:t>
            </a:r>
            <a:endParaRPr lang="en-ID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02F131-4F65-CF4A-C545-6FF53FBAD0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4828330"/>
            <a:ext cx="4872756" cy="692497"/>
          </a:xfrm>
        </p:spPr>
        <p:txBody>
          <a:bodyPr/>
          <a:lstStyle/>
          <a:p>
            <a:r>
              <a:rPr lang="en-US" dirty="0"/>
              <a:t>PC 1 IHSS</a:t>
            </a:r>
          </a:p>
          <a:p>
            <a:r>
              <a:rPr lang="en-US" dirty="0"/>
              <a:t>Kementerian Kesehatan RI</a:t>
            </a:r>
            <a:endParaRPr lang="en-ID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2186FA6-8682-5C62-54DF-075B4BF7E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1" y="2494624"/>
            <a:ext cx="4872756" cy="1477328"/>
          </a:xfrm>
        </p:spPr>
        <p:txBody>
          <a:bodyPr/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​"/>
            </a:pPr>
            <a:r>
              <a:rPr lang="en-US" sz="2800" dirty="0"/>
              <a:t>Pre-Bid Meeting/</a:t>
            </a:r>
            <a:r>
              <a:rPr lang="en-US" sz="2800" dirty="0" err="1"/>
              <a:t>Aanwijzing</a:t>
            </a:r>
            <a:br>
              <a:rPr lang="en-US" sz="3200" dirty="0"/>
            </a:br>
            <a:r>
              <a:rPr lang="en-US" sz="1800" dirty="0"/>
              <a:t>Procurement of Advanced Diagnostics &amp; Treatment Systems</a:t>
            </a:r>
            <a:br>
              <a:rPr lang="en-US" sz="1800" dirty="0"/>
            </a:br>
            <a:br>
              <a:rPr lang="en-US" sz="1800" dirty="0"/>
            </a:br>
            <a:r>
              <a:rPr lang="en-US" sz="1400" b="1" dirty="0">
                <a:latin typeface="Century Gothic"/>
                <a:ea typeface="Century Gothic"/>
                <a:cs typeface="Century Gothic"/>
                <a:sym typeface="Century Gothic"/>
              </a:rPr>
              <a:t>RFB No: ID-PMU SIHREN-528082-GO-RFB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34466715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51DF00-E1D1-0AAF-B8A6-BC2ABC78023B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936C1-E146-686A-A889-BAA41A020F02}"/>
              </a:ext>
            </a:extLst>
          </p:cNvPr>
          <p:cNvSpPr txBox="1"/>
          <p:nvPr/>
        </p:nvSpPr>
        <p:spPr>
          <a:xfrm>
            <a:off x="466928" y="212891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>
                <a:solidFill>
                  <a:schemeClr val="bg1"/>
                </a:solidFill>
                <a:latin typeface="Calibri "/>
              </a:rPr>
              <a:t>Persyaratan</a:t>
            </a:r>
            <a:r>
              <a:rPr lang="en-US" sz="2800" b="1" dirty="0">
                <a:solidFill>
                  <a:schemeClr val="bg1"/>
                </a:solidFill>
                <a:latin typeface="Calibri 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Calibri "/>
              </a:rPr>
              <a:t>Legalitas</a:t>
            </a:r>
            <a:r>
              <a:rPr lang="en-US" sz="2800" b="1" dirty="0">
                <a:solidFill>
                  <a:schemeClr val="bg1"/>
                </a:solidFill>
                <a:latin typeface="Calibri "/>
              </a:rPr>
              <a:t> &amp; </a:t>
            </a:r>
            <a:r>
              <a:rPr lang="en-US" sz="2800" b="1" dirty="0" err="1">
                <a:solidFill>
                  <a:schemeClr val="bg1"/>
                </a:solidFill>
                <a:latin typeface="Calibri "/>
              </a:rPr>
              <a:t>Kualifikasi</a:t>
            </a:r>
            <a:r>
              <a:rPr lang="en-US" sz="2800" b="1" dirty="0">
                <a:solidFill>
                  <a:schemeClr val="bg1"/>
                </a:solidFill>
                <a:latin typeface="Calibri "/>
              </a:rPr>
              <a:t> (IKP 5.2)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782EA5-D67B-4F5F-458F-2A4E966BA6AF}"/>
              </a:ext>
            </a:extLst>
          </p:cNvPr>
          <p:cNvSpPr txBox="1"/>
          <p:nvPr/>
        </p:nvSpPr>
        <p:spPr>
          <a:xfrm>
            <a:off x="659235" y="1006460"/>
            <a:ext cx="10873530" cy="56323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ID" b="1" dirty="0">
                <a:latin typeface="Calibri" panose="020F0502020204030204" pitchFamily="34" charset="0"/>
                <a:cs typeface="Calibri" panose="020F0502020204030204" pitchFamily="34" charset="0"/>
              </a:rPr>
              <a:t>A. </a:t>
            </a:r>
            <a:r>
              <a:rPr lang="en-ID" b="1" dirty="0" err="1">
                <a:latin typeface="Calibri" panose="020F0502020204030204" pitchFamily="34" charset="0"/>
                <a:cs typeface="Calibri" panose="020F0502020204030204" pitchFamily="34" charset="0"/>
              </a:rPr>
              <a:t>Izin</a:t>
            </a:r>
            <a:r>
              <a:rPr lang="en-ID" b="1" dirty="0">
                <a:latin typeface="Calibri" panose="020F0502020204030204" pitchFamily="34" charset="0"/>
                <a:cs typeface="Calibri" panose="020F0502020204030204" pitchFamily="34" charset="0"/>
              </a:rPr>
              <a:t> Usaha 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(IKP 5.2a &amp; LDP 5.2b)</a:t>
            </a:r>
          </a:p>
          <a:p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Izi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Alat Kesehatan: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serta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wajib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emilik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Surat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Izi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roduks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dan/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tau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nyalur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Distribus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Alat Kesehatan yang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asih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berlaku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ID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serta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Dalam Neger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Wajib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elampirk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Nomor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Induk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Berusaha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(NIB) yang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asih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berlaku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NIB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harus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encakup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minimal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satu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KBLI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berikut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47725 (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rdagang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Ecer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lkes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) dan/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tau</a:t>
            </a:r>
            <a:endParaRPr lang="en-ID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Wingdings" pitchFamily="2" charset="2"/>
              <a:buChar char="Ø"/>
            </a:pP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46691 (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rdagang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Besar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lkes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) dan/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tau</a:t>
            </a:r>
            <a:endParaRPr lang="en-ID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Wingdings" pitchFamily="2" charset="2"/>
              <a:buChar char="Ø"/>
            </a:pP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32502 (Industri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ralat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Kedokter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endParaRPr lang="en-ID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serta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Luar Neger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Wajib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elampirk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legalitas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sejenis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dikeluark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di negara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sal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NIB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tidak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enjad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rasyarat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Untuk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ktivas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err="1">
                <a:latin typeface="Calibri" panose="020F0502020204030204" pitchFamily="34" charset="0"/>
                <a:cs typeface="Calibri" panose="020F0502020204030204" pitchFamily="34" charset="0"/>
              </a:rPr>
              <a:t>akun</a:t>
            </a:r>
            <a:r>
              <a:rPr lang="en-ID">
                <a:latin typeface="Calibri" panose="020F0502020204030204" pitchFamily="34" charset="0"/>
                <a:cs typeface="Calibri" panose="020F0502020204030204" pitchFamily="34" charset="0"/>
              </a:rPr>
              <a:t> SPSE,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gunak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ID" i="1" dirty="0">
                <a:latin typeface="Calibri" panose="020F0502020204030204" pitchFamily="34" charset="0"/>
                <a:cs typeface="Calibri" panose="020F0502020204030204" pitchFamily="34" charset="0"/>
              </a:rPr>
              <a:t>Article of Incorporation/Certificate of Company/Deed dan Tax Identificatio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br>
              <a:rPr lang="en-ID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D" b="1" dirty="0">
                <a:latin typeface="Calibri" panose="020F0502020204030204" pitchFamily="34" charset="0"/>
                <a:cs typeface="Calibri" panose="020F0502020204030204" pitchFamily="34" charset="0"/>
              </a:rPr>
              <a:t>B. </a:t>
            </a:r>
            <a:r>
              <a:rPr lang="en-ID" b="1" dirty="0" err="1">
                <a:latin typeface="Calibri" panose="020F0502020204030204" pitchFamily="34" charset="0"/>
                <a:cs typeface="Calibri" panose="020F0502020204030204" pitchFamily="34" charset="0"/>
              </a:rPr>
              <a:t>Pengalaman</a:t>
            </a:r>
            <a:r>
              <a:rPr lang="en-ID" b="1" dirty="0">
                <a:latin typeface="Calibri" panose="020F0502020204030204" pitchFamily="34" charset="0"/>
                <a:cs typeface="Calibri" panose="020F0502020204030204" pitchFamily="34" charset="0"/>
              </a:rPr>
              <a:t> dan Kinerja 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(IKP 5.2.g)</a:t>
            </a:r>
          </a:p>
          <a:p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Surat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rnyata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i="1" dirty="0">
                <a:latin typeface="Calibri" panose="020F0502020204030204" pitchFamily="34" charset="0"/>
                <a:cs typeface="Calibri" panose="020F0502020204030204" pitchFamily="34" charset="0"/>
              </a:rPr>
              <a:t>Non-Performance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: Wajib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elampirk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surat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rnyata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bahwa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serta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belum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rnah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mengalam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kegagal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laksana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kontrak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wanprestasi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dalam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kuru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waktu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4 (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empat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tahu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terakhir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sebelum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tanggal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batas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akhir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dirty="0" err="1"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1125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51DF00-E1D1-0AAF-B8A6-BC2ABC78023B}"/>
              </a:ext>
            </a:extLst>
          </p:cNvPr>
          <p:cNvSpPr/>
          <p:nvPr/>
        </p:nvSpPr>
        <p:spPr>
          <a:xfrm>
            <a:off x="1" y="1"/>
            <a:ext cx="12192000" cy="544285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936C1-E146-686A-A889-BAA41A020F02}"/>
              </a:ext>
            </a:extLst>
          </p:cNvPr>
          <p:cNvSpPr txBox="1"/>
          <p:nvPr/>
        </p:nvSpPr>
        <p:spPr>
          <a:xfrm>
            <a:off x="466928" y="82259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Calibri "/>
              </a:rPr>
              <a:t>Kriteria Evaluasi dan Kualifikasi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782EA5-D67B-4F5F-458F-2A4E966BA6AF}"/>
              </a:ext>
            </a:extLst>
          </p:cNvPr>
          <p:cNvSpPr txBox="1"/>
          <p:nvPr/>
        </p:nvSpPr>
        <p:spPr>
          <a:xfrm>
            <a:off x="242688" y="521420"/>
            <a:ext cx="11644512" cy="594008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: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(LDK B.3)</a:t>
            </a:r>
          </a:p>
          <a:p>
            <a:pPr marL="631825" lvl="1" indent="-342900" algn="just">
              <a:buFont typeface="Wingdings" panose="05000000000000000000" pitchFamily="2" charset="2"/>
              <a:buChar char="§"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sert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haru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menyerahk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lapor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yang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ela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iaudi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atau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,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jik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idak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iwajibkan</a:t>
            </a:r>
            <a:r>
              <a:rPr lang="en-US" dirty="0">
                <a:solidFill>
                  <a:srgbClr val="000000"/>
                </a:solidFill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ig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(3)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ahu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erakhir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2023-2025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sebelum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batas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waktu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masuk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nawar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. Jika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laporan</a:t>
            </a:r>
            <a:r>
              <a:rPr lang="en-US" dirty="0">
                <a:solidFill>
                  <a:srgbClr val="000000"/>
                </a:solidFill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yang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ela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iaudi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untuk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ahu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2025,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sebagaiman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ipersyaratk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oleh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hukum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di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yang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belum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iaudi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atau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lapor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lainny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apa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isampaik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.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alam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hal</a:t>
            </a:r>
            <a:r>
              <a:rPr lang="en-US" dirty="0">
                <a:solidFill>
                  <a:srgbClr val="000000"/>
                </a:solidFill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ersebu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,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mbel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juga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apa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memint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nyampai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lapor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yang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ela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diaudit</a:t>
            </a:r>
            <a:r>
              <a:rPr lang="en-US" dirty="0">
                <a:solidFill>
                  <a:srgbClr val="000000"/>
                </a:solidFill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untuk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ahu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2022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gun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memverifikas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stabilita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sert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sert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mendukung</a:t>
            </a:r>
            <a:r>
              <a:rPr lang="en-US" dirty="0">
                <a:solidFill>
                  <a:srgbClr val="000000"/>
                </a:solidFill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nilaianny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terhadap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ondis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sehat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keua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Pesert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saa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in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"/>
                <a:cs typeface="Arial"/>
              </a:rPr>
              <a:t>.</a:t>
            </a:r>
            <a:endParaRPr lang="en-US" dirty="0">
              <a:solidFill>
                <a:srgbClr val="000000"/>
              </a:solidFill>
              <a:latin typeface="Calibri 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b="1" dirty="0" err="1">
                <a:solidFill>
                  <a:srgbClr val="000000"/>
                </a:solidFill>
                <a:latin typeface="Calibri "/>
                <a:cs typeface="Arial"/>
              </a:rPr>
              <a:t>Pengalaman</a:t>
            </a:r>
            <a:r>
              <a:rPr lang="en-US" b="1" dirty="0">
                <a:solidFill>
                  <a:srgbClr val="000000"/>
                </a:solidFill>
                <a:latin typeface="Calibri "/>
                <a:cs typeface="Arial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Calibri "/>
                <a:cs typeface="Arial"/>
              </a:rPr>
              <a:t>khusus</a:t>
            </a:r>
            <a:r>
              <a:rPr lang="en-US" b="1" dirty="0">
                <a:solidFill>
                  <a:srgbClr val="000000"/>
                </a:solidFill>
                <a:latin typeface="Calibri "/>
                <a:cs typeface="Arial"/>
              </a:rPr>
              <a:t>: </a:t>
            </a:r>
            <a:r>
              <a:rPr lang="en-US" dirty="0">
                <a:solidFill>
                  <a:srgbClr val="000000"/>
                </a:solidFill>
                <a:latin typeface="Calibri "/>
                <a:cs typeface="Arial"/>
              </a:rPr>
              <a:t>(LDK B.2.a)</a:t>
            </a:r>
          </a:p>
          <a:p>
            <a:pPr marL="533400" lvl="1" indent="-285750" algn="just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631825" algn="l"/>
              </a:tabLst>
            </a:pPr>
            <a:r>
              <a:rPr lang="en-US" dirty="0" err="1">
                <a:latin typeface="Calibri "/>
                <a:cs typeface="Arial"/>
              </a:rPr>
              <a:t>Mempunyai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pengalama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penyediaa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alkes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b="1" dirty="0" err="1">
                <a:latin typeface="Calibri "/>
                <a:cs typeface="Arial"/>
              </a:rPr>
              <a:t>serupa</a:t>
            </a:r>
            <a:r>
              <a:rPr lang="en-US" b="1" dirty="0">
                <a:latin typeface="Calibri "/>
                <a:cs typeface="Arial"/>
              </a:rPr>
              <a:t> </a:t>
            </a:r>
            <a:r>
              <a:rPr lang="en-US" b="1" dirty="0" err="1">
                <a:latin typeface="Calibri "/>
                <a:cs typeface="Arial"/>
              </a:rPr>
              <a:t>atau</a:t>
            </a:r>
            <a:r>
              <a:rPr lang="en-US" b="1" dirty="0">
                <a:latin typeface="Calibri "/>
                <a:cs typeface="Arial"/>
              </a:rPr>
              <a:t> </a:t>
            </a:r>
            <a:r>
              <a:rPr lang="en-US" b="1" dirty="0" err="1">
                <a:latin typeface="Calibri "/>
                <a:cs typeface="Arial"/>
              </a:rPr>
              <a:t>sejenis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denga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jumlah</a:t>
            </a:r>
            <a:r>
              <a:rPr lang="en-US" dirty="0">
                <a:latin typeface="Calibri "/>
                <a:cs typeface="Arial"/>
              </a:rPr>
              <a:t> minimum </a:t>
            </a:r>
            <a:r>
              <a:rPr lang="en-US" dirty="0" err="1">
                <a:latin typeface="Calibri "/>
                <a:cs typeface="Arial"/>
              </a:rPr>
              <a:t>tertentu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sebagaimana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dicantumka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dalam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b="1" u="sng" dirty="0" err="1">
                <a:latin typeface="Calibri "/>
                <a:cs typeface="Arial"/>
              </a:rPr>
              <a:t>Dokumen</a:t>
            </a:r>
            <a:r>
              <a:rPr lang="en-US" b="1" u="sng" dirty="0">
                <a:latin typeface="Calibri "/>
                <a:cs typeface="Arial"/>
              </a:rPr>
              <a:t> </a:t>
            </a:r>
            <a:r>
              <a:rPr lang="en-US" b="1" u="sng" dirty="0" err="1">
                <a:latin typeface="Calibri "/>
                <a:cs typeface="Arial"/>
              </a:rPr>
              <a:t>Pemilihan</a:t>
            </a:r>
            <a:r>
              <a:rPr lang="en-US" b="1" dirty="0">
                <a:latin typeface="Calibri "/>
                <a:cs typeface="Arial"/>
              </a:rPr>
              <a:t> </a:t>
            </a:r>
            <a:r>
              <a:rPr lang="en-US" dirty="0">
                <a:latin typeface="Calibri "/>
                <a:cs typeface="Arial"/>
              </a:rPr>
              <a:t>(</a:t>
            </a:r>
            <a:r>
              <a:rPr lang="en-US" i="1" dirty="0">
                <a:latin typeface="Calibri "/>
                <a:cs typeface="Arial"/>
              </a:rPr>
              <a:t>bidding document</a:t>
            </a:r>
            <a:r>
              <a:rPr lang="en-US" dirty="0">
                <a:latin typeface="Calibri "/>
                <a:cs typeface="Arial"/>
              </a:rPr>
              <a:t>), pada </a:t>
            </a:r>
            <a:r>
              <a:rPr lang="en-US" dirty="0" err="1">
                <a:latin typeface="Calibri "/>
                <a:cs typeface="Arial"/>
              </a:rPr>
              <a:t>satu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tahu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tertentu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dalam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periode</a:t>
            </a:r>
            <a:r>
              <a:rPr lang="en-US" dirty="0">
                <a:latin typeface="Calibri "/>
                <a:cs typeface="Arial"/>
              </a:rPr>
              <a:t> 7 </a:t>
            </a:r>
            <a:r>
              <a:rPr lang="en-US" dirty="0" err="1">
                <a:latin typeface="Calibri "/>
                <a:cs typeface="Arial"/>
              </a:rPr>
              <a:t>tahu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terakhir</a:t>
            </a:r>
            <a:r>
              <a:rPr lang="en-US" dirty="0">
                <a:latin typeface="Calibri "/>
                <a:cs typeface="Arial"/>
              </a:rPr>
              <a:t>.</a:t>
            </a:r>
          </a:p>
          <a:p>
            <a:pPr marL="533400" lvl="1" indent="-28575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631825" algn="l"/>
              </a:tabLst>
            </a:pPr>
            <a:r>
              <a:rPr lang="en-US" b="1" dirty="0" err="1">
                <a:latin typeface="Calibri "/>
                <a:cs typeface="Arial"/>
              </a:rPr>
              <a:t>Apabila</a:t>
            </a:r>
            <a:r>
              <a:rPr lang="en-US" b="1" dirty="0">
                <a:latin typeface="Calibri "/>
                <a:cs typeface="Arial"/>
              </a:rPr>
              <a:t> </a:t>
            </a:r>
            <a:r>
              <a:rPr lang="en-US" b="1" dirty="0" err="1">
                <a:latin typeface="Calibri "/>
                <a:cs typeface="Arial"/>
              </a:rPr>
              <a:t>peserta</a:t>
            </a:r>
            <a:r>
              <a:rPr lang="en-US" b="1" dirty="0">
                <a:latin typeface="Calibri "/>
                <a:cs typeface="Arial"/>
              </a:rPr>
              <a:t> tender </a:t>
            </a:r>
            <a:r>
              <a:rPr lang="en-US" b="1" dirty="0" err="1">
                <a:latin typeface="Calibri "/>
                <a:cs typeface="Arial"/>
              </a:rPr>
              <a:t>adalah</a:t>
            </a:r>
            <a:r>
              <a:rPr lang="en-US" b="1" dirty="0">
                <a:latin typeface="Calibri "/>
                <a:cs typeface="Arial"/>
              </a:rPr>
              <a:t> </a:t>
            </a:r>
            <a:r>
              <a:rPr lang="en-US" b="1" dirty="0" err="1">
                <a:latin typeface="Calibri "/>
                <a:cs typeface="Arial"/>
              </a:rPr>
              <a:t>pabrikan</a:t>
            </a:r>
            <a:r>
              <a:rPr lang="en-US" b="1" dirty="0">
                <a:latin typeface="Calibri "/>
                <a:cs typeface="Arial"/>
              </a:rPr>
              <a:t> (</a:t>
            </a:r>
            <a:r>
              <a:rPr lang="en-US" b="1" i="1" dirty="0">
                <a:latin typeface="Calibri "/>
                <a:cs typeface="Arial"/>
              </a:rPr>
              <a:t>Original Equipment Manufacturer - OEM</a:t>
            </a:r>
            <a:r>
              <a:rPr lang="en-US" b="1" dirty="0">
                <a:latin typeface="Calibri "/>
                <a:cs typeface="Arial"/>
              </a:rPr>
              <a:t>), </a:t>
            </a:r>
            <a:r>
              <a:rPr lang="en-US" dirty="0" err="1">
                <a:latin typeface="Calibri "/>
                <a:cs typeface="Arial"/>
              </a:rPr>
              <a:t>maka</a:t>
            </a:r>
            <a:r>
              <a:rPr lang="en-US" b="1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ditambahka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persyaratan</a:t>
            </a:r>
            <a:r>
              <a:rPr lang="en-US" dirty="0">
                <a:latin typeface="Calibri "/>
                <a:cs typeface="Arial"/>
              </a:rPr>
              <a:t>:</a:t>
            </a:r>
            <a:endParaRPr lang="en-US" dirty="0">
              <a:latin typeface="Calibri "/>
              <a:ea typeface="Calibri"/>
              <a:cs typeface="Arial"/>
            </a:endParaRPr>
          </a:p>
          <a:p>
            <a:pPr marL="892175" lvl="2" indent="-342900">
              <a:spcBef>
                <a:spcPts val="300"/>
              </a:spcBef>
              <a:buFont typeface="Wingdings" panose="05000000000000000000" pitchFamily="2" charset="2"/>
              <a:buChar char="ü"/>
              <a:tabLst>
                <a:tab pos="631825" algn="l"/>
              </a:tabLst>
            </a:pPr>
            <a:r>
              <a:rPr lang="en-US" dirty="0" err="1">
                <a:latin typeface="Calibri "/>
              </a:rPr>
              <a:t>Mempunya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galam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memproduks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alkes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jenis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kurang-kurangnya</a:t>
            </a:r>
            <a:r>
              <a:rPr lang="en-US" dirty="0">
                <a:latin typeface="Calibri "/>
              </a:rPr>
              <a:t> 4 </a:t>
            </a:r>
            <a:r>
              <a:rPr lang="en-US" dirty="0" err="1">
                <a:latin typeface="Calibri "/>
              </a:rPr>
              <a:t>tahu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erakhir</a:t>
            </a:r>
            <a:endParaRPr lang="en-US" dirty="0">
              <a:latin typeface="Calibri "/>
              <a:ea typeface="Calibri"/>
              <a:cs typeface="Calibri"/>
            </a:endParaRPr>
          </a:p>
          <a:p>
            <a:pPr marL="892175" lvl="2" indent="-342900">
              <a:spcBef>
                <a:spcPts val="300"/>
              </a:spcBef>
              <a:buFont typeface="Wingdings" panose="05000000000000000000" pitchFamily="2" charset="2"/>
              <a:buChar char="ü"/>
              <a:tabLst>
                <a:tab pos="631825" algn="l"/>
              </a:tabLst>
            </a:pPr>
            <a:r>
              <a:rPr lang="en-US" dirty="0">
                <a:latin typeface="Calibri "/>
              </a:rPr>
              <a:t>Rata-rata </a:t>
            </a:r>
            <a:r>
              <a:rPr lang="en-US" dirty="0" err="1">
                <a:latin typeface="Calibri "/>
              </a:rPr>
              <a:t>produks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ahun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untuk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alkes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jenis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alam</a:t>
            </a:r>
            <a:r>
              <a:rPr lang="en-US" dirty="0">
                <a:latin typeface="Calibri "/>
              </a:rPr>
              <a:t> 4 </a:t>
            </a:r>
            <a:r>
              <a:rPr lang="en-US" dirty="0" err="1">
                <a:latin typeface="Calibri "/>
              </a:rPr>
              <a:t>tahu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erakhir</a:t>
            </a:r>
            <a:r>
              <a:rPr lang="en-US" dirty="0">
                <a:latin typeface="Calibri "/>
              </a:rPr>
              <a:t> minimal 50% </a:t>
            </a:r>
            <a:r>
              <a:rPr lang="en-US" dirty="0" err="1">
                <a:latin typeface="Calibri "/>
              </a:rPr>
              <a:t>dari</a:t>
            </a:r>
            <a:r>
              <a:rPr lang="en-US" dirty="0">
                <a:latin typeface="Calibri "/>
              </a:rPr>
              <a:t> total </a:t>
            </a:r>
            <a:r>
              <a:rPr lang="en-US" dirty="0" err="1">
                <a:latin typeface="Calibri "/>
              </a:rPr>
              <a:t>jumlah</a:t>
            </a:r>
            <a:r>
              <a:rPr lang="en-US" dirty="0">
                <a:latin typeface="Calibri "/>
              </a:rPr>
              <a:t>/</a:t>
            </a:r>
            <a:r>
              <a:rPr lang="en-US" dirty="0" err="1">
                <a:latin typeface="Calibri "/>
              </a:rPr>
              <a:t>kebutuhan</a:t>
            </a:r>
            <a:r>
              <a:rPr lang="en-US" dirty="0">
                <a:latin typeface="Calibri "/>
              </a:rPr>
              <a:t> yang </a:t>
            </a:r>
            <a:r>
              <a:rPr lang="en-US" dirty="0" err="1">
                <a:latin typeface="Calibri "/>
              </a:rPr>
              <a:t>disebutk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alam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tiap</a:t>
            </a:r>
            <a:r>
              <a:rPr lang="en-US" dirty="0">
                <a:latin typeface="Calibri "/>
              </a:rPr>
              <a:t> lot/</a:t>
            </a:r>
            <a:r>
              <a:rPr lang="en-US" dirty="0" err="1">
                <a:latin typeface="Calibri "/>
              </a:rPr>
              <a:t>kontrak</a:t>
            </a:r>
            <a:endParaRPr lang="en-US" dirty="0">
              <a:latin typeface="Calibri "/>
            </a:endParaRPr>
          </a:p>
          <a:p>
            <a:pPr marL="446088" lvl="1" indent="-250825">
              <a:spcBef>
                <a:spcPts val="300"/>
              </a:spcBef>
              <a:buFont typeface="Wingdings" panose="05000000000000000000" pitchFamily="2" charset="2"/>
              <a:buChar char="§"/>
              <a:tabLst>
                <a:tab pos="533400" algn="l"/>
              </a:tabLst>
            </a:pPr>
            <a:r>
              <a:rPr lang="en-US" b="1" dirty="0" err="1">
                <a:latin typeface="Calibri "/>
                <a:cs typeface="Arial"/>
              </a:rPr>
              <a:t>Apabila</a:t>
            </a:r>
            <a:r>
              <a:rPr lang="en-US" b="1" dirty="0">
                <a:latin typeface="Calibri "/>
                <a:cs typeface="Arial"/>
              </a:rPr>
              <a:t> vendor </a:t>
            </a:r>
            <a:r>
              <a:rPr lang="en-US" b="1" dirty="0" err="1">
                <a:latin typeface="Calibri "/>
                <a:cs typeface="Arial"/>
              </a:rPr>
              <a:t>bukan</a:t>
            </a:r>
            <a:r>
              <a:rPr lang="en-US" b="1" dirty="0">
                <a:latin typeface="Calibri "/>
                <a:cs typeface="Arial"/>
              </a:rPr>
              <a:t> OEM</a:t>
            </a:r>
            <a:r>
              <a:rPr lang="en-US" dirty="0">
                <a:latin typeface="Calibri "/>
                <a:cs typeface="Arial"/>
              </a:rPr>
              <a:t>, </a:t>
            </a:r>
            <a:r>
              <a:rPr lang="en-US" dirty="0" err="1">
                <a:latin typeface="Calibri "/>
                <a:cs typeface="Arial"/>
              </a:rPr>
              <a:t>harus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mendapatka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b="1" dirty="0" err="1">
                <a:latin typeface="Calibri "/>
                <a:cs typeface="Arial"/>
              </a:rPr>
              <a:t>Otorisasi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dari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Pabrik</a:t>
            </a:r>
            <a:r>
              <a:rPr lang="en-US" dirty="0">
                <a:latin typeface="Calibri "/>
                <a:cs typeface="Arial"/>
              </a:rPr>
              <a:t> (</a:t>
            </a:r>
            <a:r>
              <a:rPr lang="en-US" i="1" dirty="0">
                <a:latin typeface="Calibri "/>
                <a:cs typeface="Arial"/>
              </a:rPr>
              <a:t>Manufacturer’s authorization</a:t>
            </a:r>
            <a:r>
              <a:rPr lang="en-US" dirty="0">
                <a:latin typeface="Calibri "/>
                <a:cs typeface="Arial"/>
              </a:rPr>
              <a:t>) </a:t>
            </a:r>
            <a:r>
              <a:rPr lang="en-US" dirty="0" err="1">
                <a:latin typeface="Calibri "/>
                <a:cs typeface="Arial"/>
              </a:rPr>
              <a:t>dengan</a:t>
            </a:r>
            <a:r>
              <a:rPr lang="en-US" dirty="0">
                <a:latin typeface="Calibri "/>
                <a:cs typeface="Arial"/>
              </a:rPr>
              <a:t> format </a:t>
            </a:r>
            <a:r>
              <a:rPr lang="en-US" dirty="0" err="1">
                <a:latin typeface="Calibri "/>
                <a:cs typeface="Arial"/>
              </a:rPr>
              <a:t>sesuai</a:t>
            </a:r>
            <a:r>
              <a:rPr lang="en-US" dirty="0">
                <a:latin typeface="Calibri "/>
                <a:cs typeface="Arial"/>
              </a:rPr>
              <a:t> pada </a:t>
            </a:r>
            <a:r>
              <a:rPr lang="en-US" dirty="0" err="1">
                <a:latin typeface="Calibri "/>
                <a:cs typeface="Arial"/>
              </a:rPr>
              <a:t>dokume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pemilihan</a:t>
            </a:r>
            <a:r>
              <a:rPr lang="en-US" dirty="0">
                <a:latin typeface="Calibri "/>
                <a:cs typeface="Arial"/>
              </a:rPr>
              <a:t> (Bab XVI – </a:t>
            </a:r>
            <a:r>
              <a:rPr lang="en-US" dirty="0" err="1">
                <a:latin typeface="Calibri "/>
                <a:cs typeface="Arial"/>
              </a:rPr>
              <a:t>Bentuk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Dokumen</a:t>
            </a:r>
            <a:r>
              <a:rPr lang="en-US" dirty="0">
                <a:latin typeface="Calibri "/>
                <a:cs typeface="Arial"/>
              </a:rPr>
              <a:t> </a:t>
            </a:r>
            <a:r>
              <a:rPr lang="en-US" dirty="0" err="1">
                <a:latin typeface="Calibri "/>
                <a:cs typeface="Arial"/>
              </a:rPr>
              <a:t>Lainnya</a:t>
            </a:r>
            <a:r>
              <a:rPr lang="en-US" dirty="0">
                <a:latin typeface="Calibri "/>
                <a:cs typeface="Arial"/>
              </a:rPr>
              <a:t>)</a:t>
            </a:r>
          </a:p>
          <a:p>
            <a:pPr marL="446088" lvl="1" indent="-250825" algn="just">
              <a:spcBef>
                <a:spcPts val="300"/>
              </a:spcBef>
              <a:buFont typeface="Wingdings" panose="05000000000000000000" pitchFamily="2" charset="2"/>
              <a:buChar char="§"/>
              <a:tabLst>
                <a:tab pos="533400" algn="l"/>
              </a:tabLst>
            </a:pP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Peserta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Tender yang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tidak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memproduksi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barang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/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barang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yang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tidak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memerlukan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otorisasi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produsen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sesuai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dengan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IKP 15.1.1b 3),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peserta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harus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menyerahkan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dokumentasi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tentang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statusnya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sebagai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pemasok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, yang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dapat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meyakinkan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MoH (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misalnya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, dealer/distributor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resmi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barang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,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pengalaman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kontrak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serupa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sebelumnya</a:t>
            </a:r>
            <a:r>
              <a:rPr lang="en-US" altLang="en-US" dirty="0">
                <a:solidFill>
                  <a:srgbClr val="000000"/>
                </a:solidFill>
                <a:latin typeface="Calibri" panose="020F0502020204030204"/>
                <a:cs typeface="Arial" panose="020B0604020202020204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318842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17087C-9B10-D5F7-3894-CDDE6799D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8BB5D9-04ED-0621-708D-BA12E71A768C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88C68D-ACCA-B795-092B-08B154F66410}"/>
              </a:ext>
            </a:extLst>
          </p:cNvPr>
          <p:cNvSpPr txBox="1"/>
          <p:nvPr/>
        </p:nvSpPr>
        <p:spPr>
          <a:xfrm>
            <a:off x="466928" y="212891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Calibri "/>
              </a:rPr>
              <a:t>Kriteria Evaluasi dan Kualifikasi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08AE63D-BEAE-0B48-68B0-E628BF9356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524650"/>
              </p:ext>
            </p:extLst>
          </p:nvPr>
        </p:nvGraphicFramePr>
        <p:xfrm>
          <a:off x="1032751" y="929259"/>
          <a:ext cx="10126495" cy="270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1610">
                  <a:extLst>
                    <a:ext uri="{9D8B030D-6E8A-4147-A177-3AD203B41FA5}">
                      <a16:colId xmlns:a16="http://schemas.microsoft.com/office/drawing/2014/main" val="667565457"/>
                    </a:ext>
                  </a:extLst>
                </a:gridCol>
                <a:gridCol w="2270837">
                  <a:extLst>
                    <a:ext uri="{9D8B030D-6E8A-4147-A177-3AD203B41FA5}">
                      <a16:colId xmlns:a16="http://schemas.microsoft.com/office/drawing/2014/main" val="1975874297"/>
                    </a:ext>
                  </a:extLst>
                </a:gridCol>
                <a:gridCol w="2079171">
                  <a:extLst>
                    <a:ext uri="{9D8B030D-6E8A-4147-A177-3AD203B41FA5}">
                      <a16:colId xmlns:a16="http://schemas.microsoft.com/office/drawing/2014/main" val="1970845605"/>
                    </a:ext>
                  </a:extLst>
                </a:gridCol>
                <a:gridCol w="1764877">
                  <a:extLst>
                    <a:ext uri="{9D8B030D-6E8A-4147-A177-3AD203B41FA5}">
                      <a16:colId xmlns:a16="http://schemas.microsoft.com/office/drawing/2014/main" val="20350746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ama </a:t>
                      </a:r>
                      <a:r>
                        <a:rPr lang="en-US" dirty="0" err="1"/>
                        <a:t>Paket</a:t>
                      </a:r>
                      <a:r>
                        <a:rPr lang="en-US" dirty="0"/>
                        <a:t>/L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ATO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engalaman Khusus*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apasitas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roduksi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3201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urement of Advanced Diagnostics &amp; Treatment Systems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0391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1 :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thalmoscope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irect</a:t>
                      </a:r>
                    </a:p>
                  </a:txBody>
                  <a:tcPr marL="3655" marR="3655" marT="365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p843,734,691</a:t>
                      </a:r>
                    </a:p>
                  </a:txBody>
                  <a:tcPr marL="3655" marR="3655" marT="365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220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2 : Vein Finder</a:t>
                      </a:r>
                    </a:p>
                  </a:txBody>
                  <a:tcPr marL="3655" marR="3655" marT="365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p327,971,964</a:t>
                      </a:r>
                    </a:p>
                  </a:txBody>
                  <a:tcPr marL="3655" marR="3655" marT="365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032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3 : Laser Ophthalmic Diode Laser</a:t>
                      </a:r>
                    </a:p>
                  </a:txBody>
                  <a:tcPr marL="3655" marR="3655" marT="365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>
                          <a:effectLst/>
                        </a:rPr>
                        <a:t>Rp6,430,836,364</a:t>
                      </a:r>
                    </a:p>
                  </a:txBody>
                  <a:tcPr marL="19050" marR="19050" marT="12700" marB="1270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8078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4 : Automated Peritoneal Dialysis</a:t>
                      </a:r>
                    </a:p>
                  </a:txBody>
                  <a:tcPr marL="3655" marR="3655" marT="365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dirty="0">
                          <a:effectLst/>
                        </a:rPr>
                        <a:t>Rp4,074,418,824</a:t>
                      </a:r>
                    </a:p>
                  </a:txBody>
                  <a:tcPr marL="19050" marR="19050" marT="12700" marB="1270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124872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5150B9C-9E3F-E8C4-E506-B1AF61BBF997}"/>
              </a:ext>
            </a:extLst>
          </p:cNvPr>
          <p:cNvSpPr txBox="1"/>
          <p:nvPr/>
        </p:nvSpPr>
        <p:spPr>
          <a:xfrm>
            <a:off x="1075717" y="4878450"/>
            <a:ext cx="10040566" cy="904672"/>
          </a:xfrm>
          <a:prstGeom prst="rect">
            <a:avLst/>
          </a:prstGeom>
          <a:ln w="6350">
            <a:solidFill>
              <a:schemeClr val="tx1"/>
            </a:solidFill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*</a:t>
            </a:r>
            <a:r>
              <a:rPr lang="en-US" sz="1600" dirty="0" err="1"/>
              <a:t>Untuk</a:t>
            </a:r>
            <a:r>
              <a:rPr lang="en-US" sz="1600" dirty="0"/>
              <a:t> KSO, Leader </a:t>
            </a:r>
            <a:r>
              <a:rPr lang="en-US" sz="1600" b="1" dirty="0"/>
              <a:t>minimal 40%</a:t>
            </a:r>
            <a:r>
              <a:rPr lang="en-US" sz="1600" dirty="0"/>
              <a:t>, Member </a:t>
            </a:r>
            <a:r>
              <a:rPr lang="en-US" sz="1600" b="1" dirty="0"/>
              <a:t>minimal 20%</a:t>
            </a:r>
            <a:r>
              <a:rPr lang="en-US" sz="1600" dirty="0"/>
              <a:t> </a:t>
            </a:r>
            <a:r>
              <a:rPr lang="en-US" sz="1600" dirty="0" err="1"/>
              <a:t>dengan</a:t>
            </a:r>
            <a:r>
              <a:rPr lang="en-US" sz="1600" dirty="0"/>
              <a:t> total 100%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**</a:t>
            </a:r>
            <a:r>
              <a:rPr lang="en-US" sz="1600" dirty="0" err="1"/>
              <a:t>Untuk</a:t>
            </a:r>
            <a:r>
              <a:rPr lang="en-US" sz="1600" dirty="0"/>
              <a:t> KSO, </a:t>
            </a:r>
            <a:r>
              <a:rPr lang="en-US" sz="1600" dirty="0" err="1"/>
              <a:t>dapat</a:t>
            </a:r>
            <a:r>
              <a:rPr lang="en-US" sz="1600" dirty="0"/>
              <a:t> </a:t>
            </a:r>
            <a:r>
              <a:rPr lang="en-US" sz="1600" dirty="0" err="1"/>
              <a:t>dipenuhi</a:t>
            </a:r>
            <a:r>
              <a:rPr lang="en-US" sz="1600" dirty="0"/>
              <a:t> oleh salah </a:t>
            </a:r>
            <a:r>
              <a:rPr lang="en-US" sz="1600" dirty="0" err="1"/>
              <a:t>satu</a:t>
            </a:r>
            <a:r>
              <a:rPr lang="en-US" sz="1600" dirty="0"/>
              <a:t> KSO member </a:t>
            </a:r>
            <a:r>
              <a:rPr lang="en-US" sz="1600" dirty="0" err="1"/>
              <a:t>atau</a:t>
            </a:r>
            <a:r>
              <a:rPr lang="en-US" sz="1600" dirty="0"/>
              <a:t> </a:t>
            </a:r>
            <a:r>
              <a:rPr lang="en-US" sz="1600" dirty="0" err="1"/>
              <a:t>kombinasi</a:t>
            </a:r>
            <a:endParaRPr 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7D1310-19C4-F6D5-E915-4C0BF65184B5}"/>
              </a:ext>
            </a:extLst>
          </p:cNvPr>
          <p:cNvSpPr txBox="1"/>
          <p:nvPr/>
        </p:nvSpPr>
        <p:spPr>
          <a:xfrm>
            <a:off x="1054234" y="3755994"/>
            <a:ext cx="10083530" cy="95410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400" i="1" dirty="0" err="1"/>
              <a:t>Peserta</a:t>
            </a:r>
            <a:r>
              <a:rPr lang="en-US" sz="1400" i="1" dirty="0"/>
              <a:t> </a:t>
            </a:r>
            <a:r>
              <a:rPr lang="en-US" sz="1400" i="1" dirty="0" err="1"/>
              <a:t>harus</a:t>
            </a:r>
            <a:r>
              <a:rPr lang="en-US" sz="1400" i="1" dirty="0"/>
              <a:t> </a:t>
            </a:r>
            <a:r>
              <a:rPr lang="en-US" sz="1400" i="1" dirty="0" err="1"/>
              <a:t>memberikan</a:t>
            </a:r>
            <a:r>
              <a:rPr lang="en-US" sz="1400" i="1" dirty="0"/>
              <a:t> </a:t>
            </a:r>
            <a:r>
              <a:rPr lang="en-US" sz="1400" i="1" dirty="0" err="1"/>
              <a:t>informasi</a:t>
            </a:r>
            <a:r>
              <a:rPr lang="en-US" sz="1400" i="1" dirty="0"/>
              <a:t> </a:t>
            </a:r>
            <a:r>
              <a:rPr lang="en-US" sz="1400" i="1" dirty="0" err="1"/>
              <a:t>rinci</a:t>
            </a:r>
            <a:r>
              <a:rPr lang="en-US" sz="1400" i="1" dirty="0"/>
              <a:t> </a:t>
            </a:r>
            <a:r>
              <a:rPr lang="en-US" sz="1400" i="1" dirty="0" err="1"/>
              <a:t>mengenai</a:t>
            </a:r>
            <a:r>
              <a:rPr lang="en-US" sz="1400" i="1" dirty="0"/>
              <a:t> </a:t>
            </a:r>
            <a:r>
              <a:rPr lang="en-US" sz="1400" i="1" dirty="0" err="1"/>
              <a:t>kontrak</a:t>
            </a:r>
            <a:r>
              <a:rPr lang="en-US" sz="1400" i="1" dirty="0"/>
              <a:t> yang </a:t>
            </a:r>
            <a:r>
              <a:rPr lang="en-US" sz="1400" i="1" dirty="0" err="1"/>
              <a:t>telah</a:t>
            </a:r>
            <a:r>
              <a:rPr lang="en-US" sz="1400" i="1" dirty="0"/>
              <a:t> </a:t>
            </a:r>
            <a:r>
              <a:rPr lang="en-US" sz="1400" i="1" dirty="0" err="1"/>
              <a:t>diselesaikan</a:t>
            </a:r>
            <a:r>
              <a:rPr lang="en-US" sz="1400" i="1" dirty="0"/>
              <a:t>: nama dan </a:t>
            </a:r>
            <a:r>
              <a:rPr lang="en-US" sz="1400" i="1" dirty="0" err="1"/>
              <a:t>alamat</a:t>
            </a:r>
            <a:r>
              <a:rPr lang="en-US" sz="1400" i="1" dirty="0"/>
              <a:t> </a:t>
            </a:r>
            <a:r>
              <a:rPr lang="en-US" sz="1400" i="1" dirty="0" err="1"/>
              <a:t>pembeli</a:t>
            </a:r>
            <a:r>
              <a:rPr lang="en-US" sz="1400" i="1" dirty="0"/>
              <a:t>, negara, nama dan </a:t>
            </a:r>
            <a:r>
              <a:rPr lang="en-US" sz="1400" i="1" dirty="0" err="1"/>
              <a:t>objek</a:t>
            </a:r>
            <a:r>
              <a:rPr lang="en-US" sz="1400" i="1" dirty="0"/>
              <a:t> </a:t>
            </a:r>
            <a:r>
              <a:rPr lang="en-US" sz="1400" i="1" dirty="0" err="1"/>
              <a:t>kontrak</a:t>
            </a:r>
            <a:r>
              <a:rPr lang="en-US" sz="1400" i="1" dirty="0"/>
              <a:t>, </a:t>
            </a:r>
            <a:r>
              <a:rPr lang="en-US" sz="1400" i="1" dirty="0" err="1"/>
              <a:t>ruang</a:t>
            </a:r>
            <a:r>
              <a:rPr lang="en-US" sz="1400" i="1" dirty="0"/>
              <a:t> </a:t>
            </a:r>
            <a:r>
              <a:rPr lang="en-US" sz="1400" i="1" dirty="0" err="1"/>
              <a:t>lingkup</a:t>
            </a:r>
            <a:r>
              <a:rPr lang="en-US" sz="1400" i="1" dirty="0"/>
              <a:t> </a:t>
            </a:r>
            <a:r>
              <a:rPr lang="en-US" sz="1400" i="1" dirty="0" err="1"/>
              <a:t>layanan</a:t>
            </a:r>
            <a:r>
              <a:rPr lang="en-US" sz="1400" i="1" dirty="0"/>
              <a:t>, </a:t>
            </a:r>
            <a:r>
              <a:rPr lang="en-US" sz="1400" i="1" dirty="0" err="1"/>
              <a:t>tanggal</a:t>
            </a:r>
            <a:r>
              <a:rPr lang="en-US" sz="1400" i="1" dirty="0"/>
              <a:t> </a:t>
            </a:r>
            <a:r>
              <a:rPr lang="en-US" sz="1400" i="1" dirty="0" err="1"/>
              <a:t>penyelesaian</a:t>
            </a:r>
            <a:r>
              <a:rPr lang="en-US" sz="1400" i="1" dirty="0"/>
              <a:t> </a:t>
            </a:r>
            <a:r>
              <a:rPr lang="en-US" sz="1400" i="1" dirty="0" err="1"/>
              <a:t>kontrak</a:t>
            </a:r>
            <a:r>
              <a:rPr lang="en-US" sz="1400" i="1" dirty="0"/>
              <a:t>, </a:t>
            </a:r>
            <a:r>
              <a:rPr lang="en-US" sz="1400" i="1" dirty="0" err="1"/>
              <a:t>peralatan</a:t>
            </a:r>
            <a:r>
              <a:rPr lang="en-US" sz="1400" i="1" dirty="0"/>
              <a:t> yang </a:t>
            </a:r>
            <a:r>
              <a:rPr lang="en-US" sz="1400" i="1" dirty="0" err="1"/>
              <a:t>disediakan</a:t>
            </a:r>
            <a:r>
              <a:rPr lang="en-US" sz="1400" i="1" dirty="0"/>
              <a:t>, </a:t>
            </a:r>
            <a:r>
              <a:rPr lang="en-US" sz="1400" i="1" dirty="0" err="1"/>
              <a:t>jumlah</a:t>
            </a:r>
            <a:r>
              <a:rPr lang="en-US" sz="1400" i="1" dirty="0"/>
              <a:t> </a:t>
            </a:r>
            <a:r>
              <a:rPr lang="en-US" sz="1400" i="1" dirty="0" err="1"/>
              <a:t>kontrak</a:t>
            </a:r>
            <a:r>
              <a:rPr lang="en-US" sz="1400" i="1" dirty="0"/>
              <a:t>, </a:t>
            </a:r>
            <a:r>
              <a:rPr lang="en-US" sz="1400" i="1" dirty="0" err="1"/>
              <a:t>peran</a:t>
            </a:r>
            <a:r>
              <a:rPr lang="en-US" sz="1400" i="1" dirty="0"/>
              <a:t> </a:t>
            </a:r>
            <a:r>
              <a:rPr lang="en-US" sz="1400" i="1" dirty="0" err="1"/>
              <a:t>dalam</a:t>
            </a:r>
            <a:r>
              <a:rPr lang="en-US" sz="1400" i="1" dirty="0"/>
              <a:t> </a:t>
            </a:r>
            <a:r>
              <a:rPr lang="en-US" sz="1400" i="1" dirty="0" err="1"/>
              <a:t>kontrak</a:t>
            </a:r>
            <a:r>
              <a:rPr lang="en-US" sz="1400" i="1" dirty="0"/>
              <a:t> </a:t>
            </a:r>
            <a:r>
              <a:rPr lang="en-US" sz="1400" i="1" dirty="0" err="1"/>
              <a:t>terkait</a:t>
            </a:r>
            <a:r>
              <a:rPr lang="en-US" sz="1400" i="1" dirty="0"/>
              <a:t> (</a:t>
            </a:r>
            <a:r>
              <a:rPr lang="en-US" sz="1400" i="1" dirty="0" err="1"/>
              <a:t>penyedia</a:t>
            </a:r>
            <a:r>
              <a:rPr lang="en-US" sz="1400" i="1" dirty="0"/>
              <a:t> </a:t>
            </a:r>
            <a:r>
              <a:rPr lang="en-US" sz="1400" i="1" dirty="0" err="1"/>
              <a:t>jasa</a:t>
            </a:r>
            <a:r>
              <a:rPr lang="en-US" sz="1400" i="1" dirty="0"/>
              <a:t> </a:t>
            </a:r>
            <a:r>
              <a:rPr lang="en-US" sz="1400" i="1" dirty="0" err="1"/>
              <a:t>utama</a:t>
            </a:r>
            <a:r>
              <a:rPr lang="en-US" sz="1400" i="1" dirty="0"/>
              <a:t>, </a:t>
            </a:r>
            <a:r>
              <a:rPr lang="en-US" sz="1400" i="1" dirty="0" err="1"/>
              <a:t>subkontraktor</a:t>
            </a:r>
            <a:r>
              <a:rPr lang="en-US" sz="1400" i="1" dirty="0"/>
              <a:t>, </a:t>
            </a:r>
            <a:r>
              <a:rPr lang="en-US" sz="1400" i="1" dirty="0" err="1"/>
              <a:t>anggota</a:t>
            </a:r>
            <a:r>
              <a:rPr lang="en-US" sz="1400" i="1" dirty="0"/>
              <a:t> KSO), dan </a:t>
            </a:r>
            <a:r>
              <a:rPr lang="en-US" sz="1400" i="1" dirty="0" err="1"/>
              <a:t>persentase</a:t>
            </a:r>
            <a:r>
              <a:rPr lang="en-US" sz="1400" i="1" dirty="0"/>
              <a:t> </a:t>
            </a:r>
            <a:r>
              <a:rPr lang="en-US" sz="1400" i="1" dirty="0" err="1"/>
              <a:t>dari</a:t>
            </a:r>
            <a:r>
              <a:rPr lang="en-US" sz="1400" i="1" dirty="0"/>
              <a:t> </a:t>
            </a:r>
            <a:r>
              <a:rPr lang="en-US" sz="1400" i="1" dirty="0" err="1"/>
              <a:t>nilai</a:t>
            </a:r>
            <a:r>
              <a:rPr lang="en-US" sz="1400" i="1" dirty="0"/>
              <a:t> </a:t>
            </a:r>
            <a:r>
              <a:rPr lang="en-US" sz="1400" i="1" dirty="0" err="1"/>
              <a:t>kontrak</a:t>
            </a:r>
            <a:r>
              <a:rPr lang="en-US" sz="1400" i="1" dirty="0"/>
              <a:t> yang </a:t>
            </a:r>
            <a:r>
              <a:rPr lang="en-US" sz="1400" i="1" dirty="0" err="1"/>
              <a:t>dilakukan</a:t>
            </a:r>
            <a:r>
              <a:rPr lang="en-US" sz="1400" i="1" dirty="0"/>
              <a:t> </a:t>
            </a:r>
            <a:r>
              <a:rPr lang="en-US" sz="1400" i="1" dirty="0" err="1"/>
              <a:t>melalui</a:t>
            </a:r>
            <a:r>
              <a:rPr lang="en-US" sz="1400" i="1" dirty="0"/>
              <a:t> </a:t>
            </a:r>
            <a:r>
              <a:rPr lang="en-US" sz="1400" i="1" dirty="0" err="1"/>
              <a:t>subkontrak</a:t>
            </a:r>
            <a:r>
              <a:rPr lang="en-US" sz="1400" i="1" dirty="0"/>
              <a:t>. (LDK B.2.a)</a:t>
            </a:r>
          </a:p>
        </p:txBody>
      </p:sp>
    </p:spTree>
    <p:extLst>
      <p:ext uri="{BB962C8B-B14F-4D97-AF65-F5344CB8AC3E}">
        <p14:creationId xmlns:p14="http://schemas.microsoft.com/office/powerpoint/2010/main" val="1159983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15A85BB-C8FE-4359-EBD4-09271FC8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822960"/>
          </a:xfrm>
          <a:solidFill>
            <a:srgbClr val="16B3AC"/>
          </a:solidFill>
        </p:spPr>
        <p:txBody>
          <a:bodyPr anchor="ctr">
            <a:normAutofit/>
          </a:bodyPr>
          <a:lstStyle/>
          <a:p>
            <a:pPr marL="449263"/>
            <a:r>
              <a:rPr lang="en-US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yaratan </a:t>
            </a: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oint Ventures</a:t>
            </a:r>
            <a:endParaRPr lang="en-US" sz="2800" b="1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13C96F5-73AC-7924-0ACB-7EADAECEAA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6760" y="1114424"/>
            <a:ext cx="10515600" cy="216408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buNone/>
            </a:pPr>
            <a:r>
              <a:rPr lang="en-US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yaratan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SO/Joint Venture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skipu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dak</a:t>
            </a:r>
            <a:r>
              <a:rPr lang="en-US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ajib,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mbentuk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SO </a:t>
            </a:r>
            <a:r>
              <a:rPr lang="en-US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perbolehkan,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gan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simum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3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ggota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rat Kuasa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tandatangan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leh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mimpi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usaha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asing-masing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ggota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SO.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SO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dak perlu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daftarkan sebagai entitas baru di Indonesia atau di </a:t>
            </a:r>
            <a:r>
              <a:rPr lang="en-US" sz="180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mpat</a:t>
            </a:r>
            <a:r>
              <a:rPr lang="en-US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in,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kt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SO sudah cukup.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mua anggota JV secara bersama-sama/ </a:t>
            </a:r>
            <a:r>
              <a:rPr lang="sv-SE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luruhnya bertanggung jawab atas pelaksanaan seluruh kontrak.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C3C908-1171-1944-D74C-DCFA1E5EF8EE}"/>
              </a:ext>
            </a:extLst>
          </p:cNvPr>
          <p:cNvSpPr txBox="1"/>
          <p:nvPr/>
        </p:nvSpPr>
        <p:spPr>
          <a:xfrm>
            <a:off x="838200" y="2912744"/>
            <a:ext cx="9540240" cy="3962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tatan: Joint Venture adalah pilihan untuk mengatasi kebutuhan yang tidak mencukupi oleh satu perusahaan</a:t>
            </a:r>
            <a:endParaRPr kumimoji="0" lang="en-ID" sz="1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7A1BC8-2BE3-3BB6-F850-5C9F017D4A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4394" y="6321974"/>
            <a:ext cx="1343212" cy="400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8937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51DF00-E1D1-0AAF-B8A6-BC2ABC78023B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936C1-E146-686A-A889-BAA41A020F02}"/>
              </a:ext>
            </a:extLst>
          </p:cNvPr>
          <p:cNvSpPr txBox="1"/>
          <p:nvPr/>
        </p:nvSpPr>
        <p:spPr>
          <a:xfrm>
            <a:off x="406049" y="227293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aluasi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eknis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1AEAB9A2-B5CF-C48D-D887-AEEB7E1019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049" y="983309"/>
            <a:ext cx="10851231" cy="442843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58902" lvl="1" indent="-285750">
              <a:buFont typeface="Wingdings" panose="05000000000000000000" pitchFamily="2" charset="2"/>
              <a:buChar char="q"/>
            </a:pPr>
            <a:r>
              <a:rPr lang="en-US" sz="1800" b="1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tode</a:t>
            </a:r>
            <a:r>
              <a:rPr lang="en-US" sz="18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800" b="1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nilaian</a:t>
            </a:r>
            <a:endParaRPr lang="en-US" sz="18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781812" lvl="2" indent="-342900">
              <a:spcAft>
                <a:spcPts val="0"/>
              </a:spcAft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lam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istem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Nilai,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evaluas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kni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enggunak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riteria </a:t>
            </a:r>
            <a:r>
              <a:rPr lang="en-US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wajib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(</a:t>
            </a:r>
            <a:r>
              <a:rPr lang="en-US" sz="1800" b="1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andatory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) dan </a:t>
            </a:r>
            <a:r>
              <a:rPr lang="en-US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riteria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Teknis yang </a:t>
            </a:r>
            <a:r>
              <a:rPr lang="en-US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iberikan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Nilai (</a:t>
            </a:r>
            <a:r>
              <a:rPr lang="en-US" sz="1800" b="1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ated Criteria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)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untuk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evaluas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nilai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kni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: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480820" lvl="5" indent="-266699">
              <a:spcBef>
                <a:spcPts val="300"/>
              </a:spcBef>
              <a:spcAft>
                <a:spcPts val="0"/>
              </a:spcAft>
              <a:buSzPts val="1980"/>
              <a:buFont typeface="Courier New"/>
              <a:buChar char="o"/>
            </a:pP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etentu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menuh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b="1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andatory technical specifications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untuk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enjami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ebutuh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pesifikas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kni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lke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minimal dan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enjaga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ualita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lkes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marL="1480820" lvl="5" indent="-266699">
              <a:spcBef>
                <a:spcPts val="300"/>
              </a:spcBef>
              <a:spcAft>
                <a:spcPts val="0"/>
              </a:spcAft>
              <a:buSzPts val="1980"/>
              <a:buFont typeface="Courier New"/>
              <a:buChar char="o"/>
            </a:pP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etentuan</a:t>
            </a:r>
            <a:r>
              <a:rPr lang="en-US" sz="1800" b="1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Rated Criteria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dalah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menuh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rhadap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peksifikas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kni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lke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iata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yang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iwajibk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, yang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k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endapat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nila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/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kor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knis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marL="1480820" lvl="5" indent="-266699">
              <a:spcBef>
                <a:spcPts val="300"/>
              </a:spcBef>
              <a:spcAft>
                <a:spcPts val="0"/>
              </a:spcAft>
              <a:buSzPts val="1980"/>
              <a:buFont typeface="Courier New"/>
              <a:buChar char="o"/>
            </a:pP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asio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mbobot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untuk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Technical dan Financial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k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bervariasi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berdasarka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jeni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lke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dan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hasil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alisa pasar.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B956B7-597F-63FC-7BD0-D93ABEEFB1DD}"/>
              </a:ext>
            </a:extLst>
          </p:cNvPr>
          <p:cNvSpPr txBox="1"/>
          <p:nvPr/>
        </p:nvSpPr>
        <p:spPr>
          <a:xfrm>
            <a:off x="1380693" y="3371544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557A4F-90C9-060F-CC95-5200B1C880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6604" y="3685434"/>
            <a:ext cx="6041316" cy="2496952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545702D-D108-61B1-9BDD-611DF200F7BD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3775848" y="4285944"/>
            <a:ext cx="1480756" cy="245165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FD1D084-316B-6A7F-E8DB-2B61CEDD5530}"/>
              </a:ext>
            </a:extLst>
          </p:cNvPr>
          <p:cNvSpPr txBox="1"/>
          <p:nvPr/>
        </p:nvSpPr>
        <p:spPr>
          <a:xfrm>
            <a:off x="2452658" y="3995487"/>
            <a:ext cx="1323190" cy="58091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Hijau =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 err="1"/>
              <a:t>Spesifikasi</a:t>
            </a:r>
            <a:r>
              <a:rPr lang="en-US" sz="1600" b="1" dirty="0"/>
              <a:t> WAJIB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4B3C4B-206B-02E6-C82D-82D8462CF4AD}"/>
              </a:ext>
            </a:extLst>
          </p:cNvPr>
          <p:cNvSpPr txBox="1"/>
          <p:nvPr/>
        </p:nvSpPr>
        <p:spPr>
          <a:xfrm>
            <a:off x="2450865" y="5723852"/>
            <a:ext cx="1323190" cy="66410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Orange =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 err="1"/>
              <a:t>Spesifikasi</a:t>
            </a:r>
            <a:r>
              <a:rPr lang="en-US" sz="1600" b="1" dirty="0"/>
              <a:t> </a:t>
            </a:r>
            <a:r>
              <a:rPr lang="en-US" sz="1600" b="1" dirty="0" err="1"/>
              <a:t>Tambahan</a:t>
            </a:r>
            <a:br>
              <a:rPr lang="en-US" sz="1600" b="1" dirty="0"/>
            </a:br>
            <a:r>
              <a:rPr lang="en-US" sz="1600" b="1" dirty="0"/>
              <a:t>(Rated Criteria)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D90A301-D069-D3A9-CA9F-82D527BBEA6C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3774055" y="5787016"/>
            <a:ext cx="1480756" cy="26889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290AF49-F0A2-76A4-65EC-4412ED6EF6DE}"/>
              </a:ext>
            </a:extLst>
          </p:cNvPr>
          <p:cNvCxnSpPr>
            <a:cxnSpLocks/>
            <a:stCxn id="12" idx="3"/>
            <a:endCxn id="4" idx="1"/>
          </p:cNvCxnSpPr>
          <p:nvPr/>
        </p:nvCxnSpPr>
        <p:spPr>
          <a:xfrm flipV="1">
            <a:off x="2180404" y="4933910"/>
            <a:ext cx="3076200" cy="10257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5F898DF-A69C-FAB9-5A0B-028F02400D76}"/>
              </a:ext>
            </a:extLst>
          </p:cNvPr>
          <p:cNvSpPr txBox="1"/>
          <p:nvPr/>
        </p:nvSpPr>
        <p:spPr>
          <a:xfrm>
            <a:off x="857214" y="4746023"/>
            <a:ext cx="1323190" cy="58091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Putih =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 err="1"/>
              <a:t>Jelaskan</a:t>
            </a:r>
            <a:r>
              <a:rPr lang="en-US" sz="1600" b="1" dirty="0"/>
              <a:t> </a:t>
            </a:r>
            <a:r>
              <a:rPr lang="en-US" sz="1600" b="1" dirty="0" err="1"/>
              <a:t>spesifikasi</a:t>
            </a:r>
            <a:r>
              <a:rPr lang="en-US" sz="1600" b="1" dirty="0"/>
              <a:t>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yang </a:t>
            </a:r>
            <a:r>
              <a:rPr lang="en-US" sz="1600" b="1" dirty="0" err="1"/>
              <a:t>dimiliki</a:t>
            </a:r>
            <a:r>
              <a:rPr lang="en-US" sz="1600" b="1" dirty="0"/>
              <a:t> </a:t>
            </a:r>
            <a:r>
              <a:rPr lang="en-US" sz="1600" b="1" i="1" dirty="0"/>
              <a:t>bidder</a:t>
            </a:r>
          </a:p>
        </p:txBody>
      </p:sp>
    </p:spTree>
    <p:extLst>
      <p:ext uri="{BB962C8B-B14F-4D97-AF65-F5344CB8AC3E}">
        <p14:creationId xmlns:p14="http://schemas.microsoft.com/office/powerpoint/2010/main" val="3027350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51DF00-E1D1-0AAF-B8A6-BC2ABC78023B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936C1-E146-686A-A889-BAA41A020F02}"/>
              </a:ext>
            </a:extLst>
          </p:cNvPr>
          <p:cNvSpPr txBox="1"/>
          <p:nvPr/>
        </p:nvSpPr>
        <p:spPr>
          <a:xfrm>
            <a:off x="446689" y="227293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gin of Domestic Preference / </a:t>
            </a:r>
            <a:r>
              <a:rPr lang="en-US" sz="2800" b="1" i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ferensi</a:t>
            </a: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arga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6957EF-FD2C-8069-61CC-0DFD91A420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346" y="1339885"/>
            <a:ext cx="10700427" cy="3554819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ID" sz="18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gin of domestic preference (</a:t>
            </a:r>
            <a:r>
              <a:rPr lang="en-ID" sz="1800" i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ferensi</a:t>
            </a:r>
            <a:r>
              <a:rPr lang="en-ID" sz="18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arga )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pat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beri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lam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aluas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rg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g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l-hal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baga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rikut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82320" lvl="3" indent="-342900" algn="just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rang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produks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i Indonesia (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dan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en-ID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,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banding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g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rang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produks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i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ar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egeri (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782320" lvl="3" indent="-342900" algn="just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ka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baga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sil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erbandingan,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atu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au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rupa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ling menguntungkan,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rsebut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pilih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782320" lvl="3" indent="-342900" algn="just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ka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rdasar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bandingan</a:t>
            </a:r>
            <a:r>
              <a:rPr lang="en-ID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ebelumnya,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 </a:t>
            </a:r>
            <a:r>
              <a:rPr lang="en-ID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ling menguntungkan,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da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rg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rang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evaluas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tambah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besar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15%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rg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DP (</a:t>
            </a:r>
            <a:r>
              <a:rPr lang="en-ID" sz="1800" b="1" dirty="0" err="1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dak</a:t>
            </a:r>
            <a:r>
              <a:rPr lang="en-ID" sz="1800" b="1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 err="1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rmasuk</a:t>
            </a:r>
            <a:r>
              <a:rPr lang="en-ID" sz="1800" b="1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i="1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land transport</a:t>
            </a:r>
            <a:r>
              <a:rPr lang="en-ID" sz="1800" b="1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ID" sz="1800" b="1" dirty="0" err="1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uransi</a:t>
            </a:r>
            <a:r>
              <a:rPr lang="en-ID" sz="1800" b="1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n </a:t>
            </a:r>
            <a:r>
              <a:rPr lang="en-ID" sz="1800" b="1" dirty="0" err="1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jak</a:t>
            </a:r>
            <a:r>
              <a:rPr lang="en-ID" sz="1800" b="1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asing-masing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rang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tawar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abil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sil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banding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bih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njut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au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alah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ling menguntungkan,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rsebut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pilih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ID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ka tidak,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a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pilih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paling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nguntungkan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18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ompok</a:t>
            </a:r>
            <a:r>
              <a:rPr lang="en-ID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</a:t>
            </a:r>
            <a:r>
              <a:rPr lang="en-ID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13470261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51DF00-E1D1-0AAF-B8A6-BC2ABC78023B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936C1-E146-686A-A889-BAA41A020F02}"/>
              </a:ext>
            </a:extLst>
          </p:cNvPr>
          <p:cNvSpPr txBox="1"/>
          <p:nvPr/>
        </p:nvSpPr>
        <p:spPr>
          <a:xfrm>
            <a:off x="446689" y="227293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gin of Domestic Preference / </a:t>
            </a:r>
            <a:r>
              <a:rPr lang="en-US" sz="2800" b="1" i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ferensi</a:t>
            </a: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arga 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2C49C35-CD90-6F89-45DE-8B61755FAF88}"/>
              </a:ext>
            </a:extLst>
          </p:cNvPr>
          <p:cNvSpPr/>
          <p:nvPr/>
        </p:nvSpPr>
        <p:spPr>
          <a:xfrm>
            <a:off x="943583" y="1068122"/>
            <a:ext cx="1731524" cy="1857983"/>
          </a:xfrm>
          <a:prstGeom prst="roundRect">
            <a:avLst/>
          </a:prstGeom>
          <a:solidFill>
            <a:srgbClr val="FFC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BF9243-20D9-8E9E-1C04-12DB9F0D9A8E}"/>
              </a:ext>
            </a:extLst>
          </p:cNvPr>
          <p:cNvSpPr/>
          <p:nvPr/>
        </p:nvSpPr>
        <p:spPr>
          <a:xfrm>
            <a:off x="2863176" y="1068121"/>
            <a:ext cx="1731524" cy="1857983"/>
          </a:xfrm>
          <a:prstGeom prst="roundRect">
            <a:avLst/>
          </a:prstGeom>
          <a:solidFill>
            <a:srgbClr val="FFC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4E9F7F6-5B30-CEF5-8141-91F61CB9B78D}"/>
              </a:ext>
            </a:extLst>
          </p:cNvPr>
          <p:cNvSpPr/>
          <p:nvPr/>
        </p:nvSpPr>
        <p:spPr>
          <a:xfrm>
            <a:off x="4944895" y="1068122"/>
            <a:ext cx="2924781" cy="1857983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AE6F93-BD0E-CB2B-24AC-8FAE0F324CEC}"/>
              </a:ext>
            </a:extLst>
          </p:cNvPr>
          <p:cNvSpPr txBox="1"/>
          <p:nvPr/>
        </p:nvSpPr>
        <p:spPr>
          <a:xfrm>
            <a:off x="1643974" y="1243221"/>
            <a:ext cx="330742" cy="62257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3600" dirty="0"/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CEF490-7474-D221-FEB3-1E6BB319B692}"/>
              </a:ext>
            </a:extLst>
          </p:cNvPr>
          <p:cNvSpPr txBox="1"/>
          <p:nvPr/>
        </p:nvSpPr>
        <p:spPr>
          <a:xfrm>
            <a:off x="3563567" y="1243220"/>
            <a:ext cx="330742" cy="62257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3600" dirty="0"/>
              <a:t>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DD9B2D-0CB4-236D-17A7-8F8265871BB1}"/>
              </a:ext>
            </a:extLst>
          </p:cNvPr>
          <p:cNvSpPr txBox="1"/>
          <p:nvPr/>
        </p:nvSpPr>
        <p:spPr>
          <a:xfrm>
            <a:off x="6199763" y="1218902"/>
            <a:ext cx="330742" cy="62257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3600" dirty="0"/>
              <a:t>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2F35DE-0FD1-CBB9-299A-3CBD008E0EE4}"/>
              </a:ext>
            </a:extLst>
          </p:cNvPr>
          <p:cNvSpPr txBox="1"/>
          <p:nvPr/>
        </p:nvSpPr>
        <p:spPr>
          <a:xfrm>
            <a:off x="1230549" y="1841471"/>
            <a:ext cx="1157591" cy="62257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dirty="0"/>
              <a:t>Alkes Lokal</a:t>
            </a:r>
            <a:br>
              <a:rPr lang="en-US" sz="2000" dirty="0"/>
            </a:br>
            <a:r>
              <a:rPr lang="en-US" sz="2000" dirty="0"/>
              <a:t>≥30% TKD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58E5A1-308C-E55E-9792-19BD47172FF5}"/>
              </a:ext>
            </a:extLst>
          </p:cNvPr>
          <p:cNvSpPr txBox="1"/>
          <p:nvPr/>
        </p:nvSpPr>
        <p:spPr>
          <a:xfrm>
            <a:off x="3150142" y="1865790"/>
            <a:ext cx="1157591" cy="62257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dirty="0"/>
              <a:t>Alkes Lokal</a:t>
            </a:r>
            <a:br>
              <a:rPr lang="en-US" sz="2000" dirty="0"/>
            </a:br>
            <a:r>
              <a:rPr lang="en-US" sz="2000" dirty="0"/>
              <a:t>&lt;30% TKD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C7265A-FA56-FD78-B063-CD0E5102B625}"/>
              </a:ext>
            </a:extLst>
          </p:cNvPr>
          <p:cNvSpPr txBox="1"/>
          <p:nvPr/>
        </p:nvSpPr>
        <p:spPr>
          <a:xfrm>
            <a:off x="5786338" y="1841471"/>
            <a:ext cx="1157591" cy="62257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dirty="0"/>
              <a:t>Alkes</a:t>
            </a:r>
            <a:br>
              <a:rPr lang="en-US" sz="2000" dirty="0"/>
            </a:br>
            <a:r>
              <a:rPr lang="en-US" sz="2000" dirty="0"/>
              <a:t>Impor</a:t>
            </a:r>
          </a:p>
        </p:txBody>
      </p:sp>
      <p:sp>
        <p:nvSpPr>
          <p:cNvPr id="15" name="Arrow: Left-Right 14">
            <a:extLst>
              <a:ext uri="{FF2B5EF4-FFF2-40B4-BE49-F238E27FC236}">
                <a16:creationId xmlns:a16="http://schemas.microsoft.com/office/drawing/2014/main" id="{FA73F424-3BA3-C3E5-461B-DB3F2F630B31}"/>
              </a:ext>
            </a:extLst>
          </p:cNvPr>
          <p:cNvSpPr/>
          <p:nvPr/>
        </p:nvSpPr>
        <p:spPr>
          <a:xfrm>
            <a:off x="2190346" y="1401601"/>
            <a:ext cx="1157591" cy="305808"/>
          </a:xfrm>
          <a:prstGeom prst="leftRightArrow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048ECD-5F2A-110A-CB0F-0B16C840663E}"/>
              </a:ext>
            </a:extLst>
          </p:cNvPr>
          <p:cNvSpPr/>
          <p:nvPr/>
        </p:nvSpPr>
        <p:spPr>
          <a:xfrm>
            <a:off x="1371597" y="2601938"/>
            <a:ext cx="2830749" cy="62257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</a:rPr>
              <a:t>Jika penawaran </a:t>
            </a:r>
            <a:r>
              <a:rPr lang="en-US" sz="1600" dirty="0" err="1">
                <a:solidFill>
                  <a:schemeClr val="bg1"/>
                </a:solidFill>
              </a:rPr>
              <a:t>dar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grup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ini</a:t>
            </a:r>
            <a:r>
              <a:rPr lang="en-US" sz="1600" dirty="0">
                <a:solidFill>
                  <a:schemeClr val="bg1"/>
                </a:solidFill>
              </a:rPr>
              <a:t> yang </a:t>
            </a:r>
            <a:r>
              <a:rPr lang="en-US" sz="1600" dirty="0" err="1">
                <a:solidFill>
                  <a:schemeClr val="bg1"/>
                </a:solidFill>
              </a:rPr>
              <a:t>terbaik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C12F81-60DB-4592-75C9-9065FAFFC6EB}"/>
              </a:ext>
            </a:extLst>
          </p:cNvPr>
          <p:cNvSpPr/>
          <p:nvPr/>
        </p:nvSpPr>
        <p:spPr>
          <a:xfrm>
            <a:off x="1259732" y="4537654"/>
            <a:ext cx="2830749" cy="622570"/>
          </a:xfrm>
          <a:prstGeom prst="rect">
            <a:avLst/>
          </a:prstGeom>
          <a:solidFill>
            <a:srgbClr val="FFC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 err="1">
                <a:solidFill>
                  <a:schemeClr val="tx1"/>
                </a:solidFill>
              </a:rPr>
              <a:t>Pemenang</a:t>
            </a:r>
            <a:r>
              <a:rPr lang="en-US" sz="1600" dirty="0">
                <a:solidFill>
                  <a:schemeClr val="tx1"/>
                </a:solidFill>
              </a:rPr>
              <a:t> A </a:t>
            </a:r>
            <a:r>
              <a:rPr lang="en-US" sz="1600" dirty="0" err="1">
                <a:solidFill>
                  <a:schemeClr val="tx1"/>
                </a:solidFill>
              </a:rPr>
              <a:t>atau</a:t>
            </a:r>
            <a:r>
              <a:rPr lang="en-US" sz="1600" dirty="0">
                <a:solidFill>
                  <a:schemeClr val="tx1"/>
                </a:solidFill>
              </a:rPr>
              <a:t> B*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C0118F8-369A-AB73-ED64-3CF42CCBE953}"/>
              </a:ext>
            </a:extLst>
          </p:cNvPr>
          <p:cNvSpPr/>
          <p:nvPr/>
        </p:nvSpPr>
        <p:spPr>
          <a:xfrm>
            <a:off x="5055138" y="2601938"/>
            <a:ext cx="2678348" cy="62257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</a:rPr>
              <a:t>Jika penawaran </a:t>
            </a:r>
            <a:r>
              <a:rPr lang="en-US" sz="1600" dirty="0" err="1">
                <a:solidFill>
                  <a:schemeClr val="bg1"/>
                </a:solidFill>
              </a:rPr>
              <a:t>dar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grup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ini</a:t>
            </a:r>
            <a:r>
              <a:rPr lang="en-US" sz="1600" dirty="0">
                <a:solidFill>
                  <a:schemeClr val="bg1"/>
                </a:solidFill>
              </a:rPr>
              <a:t> yang </a:t>
            </a:r>
            <a:r>
              <a:rPr lang="en-US" sz="1600" dirty="0" err="1">
                <a:solidFill>
                  <a:schemeClr val="bg1"/>
                </a:solidFill>
              </a:rPr>
              <a:t>terbaik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402E8AD-B571-EF58-5344-36F69C407736}"/>
              </a:ext>
            </a:extLst>
          </p:cNvPr>
          <p:cNvSpPr/>
          <p:nvPr/>
        </p:nvSpPr>
        <p:spPr>
          <a:xfrm>
            <a:off x="8446848" y="2597687"/>
            <a:ext cx="2678348" cy="62257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 err="1">
                <a:solidFill>
                  <a:schemeClr val="bg1"/>
                </a:solidFill>
              </a:rPr>
              <a:t>Tambahkan</a:t>
            </a:r>
            <a:r>
              <a:rPr lang="en-US" sz="1600" dirty="0">
                <a:solidFill>
                  <a:schemeClr val="bg1"/>
                </a:solidFill>
              </a:rPr>
              <a:t> 15% </a:t>
            </a:r>
            <a:r>
              <a:rPr lang="en-US" sz="1600" dirty="0" err="1">
                <a:solidFill>
                  <a:schemeClr val="bg1"/>
                </a:solidFill>
              </a:rPr>
              <a:t>dari</a:t>
            </a:r>
            <a:r>
              <a:rPr lang="en-US" sz="1600" dirty="0">
                <a:solidFill>
                  <a:schemeClr val="bg1"/>
                </a:solidFill>
              </a:rPr>
              <a:t> total </a:t>
            </a:r>
            <a:r>
              <a:rPr lang="en-US" sz="1600" dirty="0" err="1">
                <a:solidFill>
                  <a:schemeClr val="bg1"/>
                </a:solidFill>
              </a:rPr>
              <a:t>nilai</a:t>
            </a:r>
            <a:r>
              <a:rPr lang="en-US" sz="1600" dirty="0">
                <a:solidFill>
                  <a:schemeClr val="bg1"/>
                </a:solidFill>
              </a:rPr>
              <a:t> Kontrak DDP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BD74BC67-F87D-F674-7504-A0EFDC7C5A11}"/>
              </a:ext>
            </a:extLst>
          </p:cNvPr>
          <p:cNvSpPr/>
          <p:nvPr/>
        </p:nvSpPr>
        <p:spPr>
          <a:xfrm>
            <a:off x="7845353" y="2597687"/>
            <a:ext cx="489628" cy="622570"/>
          </a:xfrm>
          <a:prstGeom prst="rightArrow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30A132-A672-B0E0-A336-793DAB3BC9E9}"/>
              </a:ext>
            </a:extLst>
          </p:cNvPr>
          <p:cNvSpPr/>
          <p:nvPr/>
        </p:nvSpPr>
        <p:spPr>
          <a:xfrm>
            <a:off x="8446850" y="3603799"/>
            <a:ext cx="2678348" cy="62257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 err="1">
                <a:solidFill>
                  <a:schemeClr val="bg1"/>
                </a:solidFill>
              </a:rPr>
              <a:t>Bandingkan</a:t>
            </a:r>
            <a:r>
              <a:rPr lang="en-US" sz="1600" dirty="0">
                <a:solidFill>
                  <a:schemeClr val="bg1"/>
                </a:solidFill>
              </a:rPr>
              <a:t> dengan A dan B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D2B8655-D629-008C-5252-A324FCF5ACA4}"/>
              </a:ext>
            </a:extLst>
          </p:cNvPr>
          <p:cNvSpPr/>
          <p:nvPr/>
        </p:nvSpPr>
        <p:spPr>
          <a:xfrm>
            <a:off x="8446850" y="4537654"/>
            <a:ext cx="2678348" cy="62257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</a:rPr>
              <a:t>Jika Nilai A </a:t>
            </a:r>
            <a:r>
              <a:rPr lang="en-US" sz="1600" dirty="0" err="1">
                <a:solidFill>
                  <a:schemeClr val="bg1"/>
                </a:solidFill>
              </a:rPr>
              <a:t>atau</a:t>
            </a:r>
            <a:r>
              <a:rPr lang="en-US" sz="1600" dirty="0">
                <a:solidFill>
                  <a:schemeClr val="bg1"/>
                </a:solidFill>
              </a:rPr>
              <a:t> B masih </a:t>
            </a:r>
            <a:r>
              <a:rPr lang="en-US" sz="1600" dirty="0" err="1">
                <a:solidFill>
                  <a:schemeClr val="bg1"/>
                </a:solidFill>
              </a:rPr>
              <a:t>terbaik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93CA21D0-DCEF-2094-E9DD-F7419EED4240}"/>
              </a:ext>
            </a:extLst>
          </p:cNvPr>
          <p:cNvSpPr/>
          <p:nvPr/>
        </p:nvSpPr>
        <p:spPr>
          <a:xfrm rot="10800000">
            <a:off x="4202347" y="4537653"/>
            <a:ext cx="4132635" cy="520729"/>
          </a:xfrm>
          <a:prstGeom prst="rightArrow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92869AA3-C5BF-31BE-03C4-54A68FE93C55}"/>
              </a:ext>
            </a:extLst>
          </p:cNvPr>
          <p:cNvSpPr/>
          <p:nvPr/>
        </p:nvSpPr>
        <p:spPr>
          <a:xfrm rot="5400000">
            <a:off x="2238105" y="3675375"/>
            <a:ext cx="1097729" cy="423151"/>
          </a:xfrm>
          <a:prstGeom prst="rightArrow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CC5D565-156D-0D9A-13B6-3D72E9D59079}"/>
              </a:ext>
            </a:extLst>
          </p:cNvPr>
          <p:cNvSpPr/>
          <p:nvPr/>
        </p:nvSpPr>
        <p:spPr>
          <a:xfrm>
            <a:off x="8446850" y="5417394"/>
            <a:ext cx="2678348" cy="62257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</a:rPr>
              <a:t>Jika Nilai C </a:t>
            </a:r>
            <a:r>
              <a:rPr lang="en-US" sz="1600" dirty="0" err="1">
                <a:solidFill>
                  <a:schemeClr val="bg1"/>
                </a:solidFill>
              </a:rPr>
              <a:t>terbaik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15EA00-B3EA-3FB2-3CF3-B2DE452E4491}"/>
              </a:ext>
            </a:extLst>
          </p:cNvPr>
          <p:cNvSpPr/>
          <p:nvPr/>
        </p:nvSpPr>
        <p:spPr>
          <a:xfrm>
            <a:off x="5115130" y="5417394"/>
            <a:ext cx="2618358" cy="62257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 err="1">
                <a:solidFill>
                  <a:schemeClr val="tx1"/>
                </a:solidFill>
              </a:rPr>
              <a:t>Pemenang</a:t>
            </a:r>
            <a:r>
              <a:rPr lang="en-US" sz="1600" dirty="0">
                <a:solidFill>
                  <a:schemeClr val="tx1"/>
                </a:solidFill>
              </a:rPr>
              <a:t> C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00A9754-DB63-627E-87CD-0771CAC9F9AE}"/>
              </a:ext>
            </a:extLst>
          </p:cNvPr>
          <p:cNvSpPr/>
          <p:nvPr/>
        </p:nvSpPr>
        <p:spPr>
          <a:xfrm rot="10800000">
            <a:off x="7812927" y="5417394"/>
            <a:ext cx="489628" cy="622570"/>
          </a:xfrm>
          <a:prstGeom prst="rightArrow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574E1235-C168-0E3C-6A58-A7FAC964D2ED}"/>
              </a:ext>
            </a:extLst>
          </p:cNvPr>
          <p:cNvSpPr/>
          <p:nvPr/>
        </p:nvSpPr>
        <p:spPr>
          <a:xfrm rot="5400000">
            <a:off x="9663617" y="3264126"/>
            <a:ext cx="244814" cy="340470"/>
          </a:xfrm>
          <a:prstGeom prst="rightArrow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71CA2429-2064-7236-D3E1-7BD6B41756FE}"/>
              </a:ext>
            </a:extLst>
          </p:cNvPr>
          <p:cNvSpPr/>
          <p:nvPr/>
        </p:nvSpPr>
        <p:spPr>
          <a:xfrm rot="5400000">
            <a:off x="9662800" y="4216661"/>
            <a:ext cx="246448" cy="340470"/>
          </a:xfrm>
          <a:prstGeom prst="rightArrow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56E7DFCF-97AD-D9DA-D8D5-C1A42A3968E2}"/>
              </a:ext>
            </a:extLst>
          </p:cNvPr>
          <p:cNvSpPr/>
          <p:nvPr/>
        </p:nvSpPr>
        <p:spPr>
          <a:xfrm rot="5400000">
            <a:off x="9662800" y="5126865"/>
            <a:ext cx="246448" cy="340470"/>
          </a:xfrm>
          <a:prstGeom prst="rightArrow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2BA3B2F-AB77-E809-36F1-337413386EDE}"/>
              </a:ext>
            </a:extLst>
          </p:cNvPr>
          <p:cNvSpPr/>
          <p:nvPr/>
        </p:nvSpPr>
        <p:spPr>
          <a:xfrm>
            <a:off x="8973370" y="1097998"/>
            <a:ext cx="1824331" cy="767791"/>
          </a:xfrm>
          <a:prstGeom prst="roundRect">
            <a:avLst/>
          </a:prstGeom>
          <a:solidFill>
            <a:srgbClr val="F4F7C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000" b="1" dirty="0" err="1">
                <a:solidFill>
                  <a:sysClr val="windowText" lastClr="000000"/>
                </a:solidFill>
              </a:rPr>
              <a:t>Ilustrasi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5B372D-32AB-8BA3-2D8A-340723A1B50C}"/>
              </a:ext>
            </a:extLst>
          </p:cNvPr>
          <p:cNvSpPr txBox="1"/>
          <p:nvPr/>
        </p:nvSpPr>
        <p:spPr>
          <a:xfrm>
            <a:off x="119166" y="6353708"/>
            <a:ext cx="3609771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*dengan penawaran paling </a:t>
            </a:r>
            <a:r>
              <a:rPr lang="en-US" sz="1200" dirty="0" err="1">
                <a:solidFill>
                  <a:schemeClr val="tx1"/>
                </a:solidFill>
              </a:rPr>
              <a:t>menguntungka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12697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51DF00-E1D1-0AAF-B8A6-BC2ABC78023B}"/>
              </a:ext>
            </a:extLst>
          </p:cNvPr>
          <p:cNvSpPr/>
          <p:nvPr/>
        </p:nvSpPr>
        <p:spPr>
          <a:xfrm>
            <a:off x="0" y="0"/>
            <a:ext cx="12192000" cy="66402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936C1-E146-686A-A889-BAA41A020F02}"/>
              </a:ext>
            </a:extLst>
          </p:cNvPr>
          <p:cNvSpPr txBox="1"/>
          <p:nvPr/>
        </p:nvSpPr>
        <p:spPr>
          <a:xfrm>
            <a:off x="388585" y="129222"/>
            <a:ext cx="9979573" cy="321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</a:rPr>
              <a:t>Skema </a:t>
            </a:r>
            <a:r>
              <a:rPr lang="en-US" sz="2800" b="1" dirty="0" err="1">
                <a:solidFill>
                  <a:schemeClr val="bg1"/>
                </a:solidFill>
              </a:rPr>
              <a:t>Pembayaran</a:t>
            </a:r>
            <a:r>
              <a:rPr lang="en-US" sz="2800" b="1" dirty="0">
                <a:solidFill>
                  <a:schemeClr val="bg1"/>
                </a:solidFill>
              </a:rPr>
              <a:t> dan </a:t>
            </a:r>
            <a:r>
              <a:rPr lang="en-US" sz="2800" b="1" dirty="0" err="1">
                <a:solidFill>
                  <a:schemeClr val="bg1"/>
                </a:solidFill>
                <a:latin typeface="+mn-lt"/>
              </a:rPr>
              <a:t>Garansi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53EBD1-FDE9-6160-5C87-F1B53D43AD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773" y="688587"/>
            <a:ext cx="11510681" cy="4914763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None/>
            </a:pPr>
            <a:r>
              <a:rPr lang="en-US" sz="1800" b="1" dirty="0">
                <a:latin typeface="Calibri "/>
              </a:rPr>
              <a:t>Skema </a:t>
            </a:r>
            <a:r>
              <a:rPr lang="en-US" sz="1800" b="1" dirty="0" err="1">
                <a:latin typeface="Calibri "/>
              </a:rPr>
              <a:t>Pembayaran</a:t>
            </a:r>
            <a:r>
              <a:rPr lang="en-US" sz="1800" b="1" dirty="0">
                <a:latin typeface="Calibri "/>
              </a:rPr>
              <a:t>:</a:t>
            </a:r>
          </a:p>
          <a:p>
            <a:pPr>
              <a:buNone/>
            </a:pPr>
            <a:r>
              <a:rPr lang="en-US" i="1" dirty="0">
                <a:latin typeface="Calibri "/>
              </a:rPr>
              <a:t>Fully Paid </a:t>
            </a:r>
            <a:r>
              <a:rPr lang="en-US" dirty="0" err="1">
                <a:latin typeface="Calibri "/>
              </a:rPr>
              <a:t>deng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rincian</a:t>
            </a:r>
            <a:r>
              <a:rPr lang="en-US" dirty="0">
                <a:latin typeface="Calibri "/>
              </a:rPr>
              <a:t>:</a:t>
            </a:r>
            <a:endParaRPr lang="en-US" b="1" dirty="0">
              <a:latin typeface="Calibri "/>
            </a:endParaRPr>
          </a:p>
          <a:p>
            <a:pPr>
              <a:buNone/>
            </a:pPr>
            <a:r>
              <a:rPr lang="en-US" b="1" dirty="0">
                <a:latin typeface="Calibri "/>
              </a:rPr>
              <a:t>- 20% </a:t>
            </a:r>
            <a:r>
              <a:rPr lang="en-US" dirty="0">
                <a:latin typeface="Calibri "/>
              </a:rPr>
              <a:t>Uang </a:t>
            </a:r>
            <a:r>
              <a:rPr lang="en-US" dirty="0" err="1">
                <a:latin typeface="Calibri "/>
              </a:rPr>
              <a:t>Muka</a:t>
            </a:r>
            <a:endParaRPr lang="en-US" dirty="0">
              <a:latin typeface="Calibri "/>
            </a:endParaRPr>
          </a:p>
          <a:p>
            <a:pPr>
              <a:buNone/>
            </a:pPr>
            <a:r>
              <a:rPr lang="en-US" dirty="0">
                <a:latin typeface="Calibri "/>
              </a:rPr>
              <a:t>- </a:t>
            </a:r>
            <a:r>
              <a:rPr lang="en-US" b="1" dirty="0">
                <a:latin typeface="Calibri "/>
              </a:rPr>
              <a:t>40% </a:t>
            </a:r>
            <a:r>
              <a:rPr lang="en-US" dirty="0" err="1">
                <a:latin typeface="Calibri "/>
              </a:rPr>
              <a:t>Pengiriman</a:t>
            </a:r>
            <a:r>
              <a:rPr lang="en-US" dirty="0">
                <a:latin typeface="Calibri "/>
              </a:rPr>
              <a:t> dan </a:t>
            </a:r>
          </a:p>
          <a:p>
            <a:pPr>
              <a:buNone/>
            </a:pPr>
            <a:r>
              <a:rPr lang="en-US" dirty="0">
                <a:latin typeface="Calibri "/>
              </a:rPr>
              <a:t>- </a:t>
            </a:r>
            <a:r>
              <a:rPr lang="en-US" b="1" dirty="0">
                <a:latin typeface="Calibri "/>
              </a:rPr>
              <a:t>40%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erimaan</a:t>
            </a:r>
            <a:r>
              <a:rPr lang="en-US" dirty="0">
                <a:latin typeface="Calibri "/>
              </a:rPr>
              <a:t> (</a:t>
            </a:r>
            <a:r>
              <a:rPr lang="es-ES" dirty="0" err="1">
                <a:latin typeface="Calibri "/>
              </a:rPr>
              <a:t>Serah</a:t>
            </a:r>
            <a:r>
              <a:rPr lang="es-ES" dirty="0">
                <a:latin typeface="Calibri "/>
              </a:rPr>
              <a:t> </a:t>
            </a:r>
            <a:r>
              <a:rPr lang="es-ES" dirty="0" err="1">
                <a:latin typeface="Calibri "/>
              </a:rPr>
              <a:t>Terima</a:t>
            </a:r>
            <a:r>
              <a:rPr lang="es-ES" dirty="0">
                <a:latin typeface="Calibri "/>
              </a:rPr>
              <a:t>, </a:t>
            </a:r>
            <a:r>
              <a:rPr lang="es-ES" dirty="0" err="1">
                <a:latin typeface="Calibri "/>
              </a:rPr>
              <a:t>Pemasangan</a:t>
            </a:r>
            <a:r>
              <a:rPr lang="es-ES" dirty="0">
                <a:latin typeface="Calibri "/>
              </a:rPr>
              <a:t>, </a:t>
            </a:r>
            <a:r>
              <a:rPr lang="es-ES" dirty="0" err="1">
                <a:latin typeface="Calibri "/>
              </a:rPr>
              <a:t>Uji</a:t>
            </a:r>
            <a:r>
              <a:rPr lang="es-ES" dirty="0">
                <a:latin typeface="Calibri "/>
              </a:rPr>
              <a:t> </a:t>
            </a:r>
            <a:r>
              <a:rPr lang="es-ES" dirty="0" err="1">
                <a:latin typeface="Calibri "/>
              </a:rPr>
              <a:t>Fungsi</a:t>
            </a:r>
            <a:r>
              <a:rPr lang="es-ES" dirty="0">
                <a:latin typeface="Calibri "/>
              </a:rPr>
              <a:t> dan </a:t>
            </a:r>
            <a:r>
              <a:rPr lang="es-ES" dirty="0" err="1">
                <a:latin typeface="Calibri "/>
              </a:rPr>
              <a:t>Uji</a:t>
            </a:r>
            <a:r>
              <a:rPr lang="es-ES" dirty="0">
                <a:latin typeface="Calibri "/>
              </a:rPr>
              <a:t> </a:t>
            </a:r>
            <a:r>
              <a:rPr lang="es-ES" dirty="0" err="1">
                <a:latin typeface="Calibri "/>
              </a:rPr>
              <a:t>Operasional</a:t>
            </a:r>
            <a:r>
              <a:rPr lang="es-ES" dirty="0">
                <a:latin typeface="Calibri "/>
              </a:rPr>
              <a:t> </a:t>
            </a:r>
            <a:r>
              <a:rPr lang="es-ES" dirty="0" err="1">
                <a:latin typeface="Calibri "/>
              </a:rPr>
              <a:t>serta</a:t>
            </a:r>
            <a:r>
              <a:rPr lang="es-ES" dirty="0">
                <a:latin typeface="Calibri "/>
              </a:rPr>
              <a:t> </a:t>
            </a:r>
            <a:r>
              <a:rPr lang="es-ES" dirty="0" err="1">
                <a:latin typeface="Calibri "/>
              </a:rPr>
              <a:t>Pelatihan</a:t>
            </a:r>
            <a:r>
              <a:rPr lang="es-ES" dirty="0">
                <a:latin typeface="Calibri "/>
              </a:rPr>
              <a:t> </a:t>
            </a:r>
            <a:r>
              <a:rPr lang="es-ES" dirty="0" err="1">
                <a:latin typeface="Calibri "/>
              </a:rPr>
              <a:t>pertama</a:t>
            </a:r>
            <a:r>
              <a:rPr lang="en-US" dirty="0">
                <a:latin typeface="Calibri "/>
              </a:rPr>
              <a:t>)</a:t>
            </a:r>
            <a:endParaRPr lang="en-US" sz="1800" dirty="0">
              <a:latin typeface="Calibri "/>
            </a:endParaRPr>
          </a:p>
          <a:p>
            <a:pPr>
              <a:buNone/>
            </a:pPr>
            <a:r>
              <a:rPr lang="en-US" sz="1800" b="1" dirty="0" err="1">
                <a:latin typeface="Calibri "/>
              </a:rPr>
              <a:t>Jaminan</a:t>
            </a:r>
            <a:r>
              <a:rPr lang="en-US" sz="1800" b="1" dirty="0">
                <a:latin typeface="Calibri "/>
              </a:rPr>
              <a:t>:</a:t>
            </a:r>
            <a:r>
              <a:rPr lang="en-US" sz="1800" dirty="0">
                <a:latin typeface="Calibri "/>
              </a:rPr>
              <a:t> </a:t>
            </a:r>
            <a:br>
              <a:rPr lang="en-US" dirty="0">
                <a:latin typeface="Calibri "/>
              </a:rPr>
            </a:br>
            <a:r>
              <a:rPr lang="en-US" dirty="0">
                <a:latin typeface="Calibri "/>
              </a:rPr>
              <a:t>Pada </a:t>
            </a:r>
            <a:r>
              <a:rPr lang="en-US" dirty="0" err="1">
                <a:latin typeface="Calibri "/>
              </a:rPr>
              <a:t>saat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imulainya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kontrak</a:t>
            </a:r>
            <a:r>
              <a:rPr lang="en-US" dirty="0">
                <a:latin typeface="Calibri 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dirty="0" err="1">
                <a:latin typeface="Calibri "/>
              </a:rPr>
              <a:t>Jaminan</a:t>
            </a:r>
            <a:r>
              <a:rPr lang="en-US" b="1" dirty="0">
                <a:latin typeface="Calibri "/>
              </a:rPr>
              <a:t> Uang </a:t>
            </a:r>
            <a:r>
              <a:rPr lang="en-US" b="1" dirty="0" err="1">
                <a:latin typeface="Calibri "/>
              </a:rPr>
              <a:t>Muka</a:t>
            </a:r>
            <a:r>
              <a:rPr lang="en-US" b="1" dirty="0">
                <a:latin typeface="Calibri "/>
              </a:rPr>
              <a:t> 20% </a:t>
            </a:r>
            <a:r>
              <a:rPr lang="en-US" dirty="0" err="1">
                <a:latin typeface="Calibri "/>
              </a:rPr>
              <a:t>dar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nila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giriman</a:t>
            </a:r>
            <a:r>
              <a:rPr lang="en-US" dirty="0">
                <a:latin typeface="Calibri "/>
              </a:rPr>
              <a:t> per batch </a:t>
            </a:r>
            <a:r>
              <a:rPr lang="en-US" dirty="0" err="1">
                <a:latin typeface="Calibri "/>
              </a:rPr>
              <a:t>atau</a:t>
            </a:r>
            <a:r>
              <a:rPr lang="en-US" dirty="0">
                <a:latin typeface="Calibri "/>
              </a:rPr>
              <a:t> per </a:t>
            </a:r>
            <a:r>
              <a:rPr lang="en-US" dirty="0" err="1">
                <a:latin typeface="Calibri "/>
              </a:rPr>
              <a:t>kontrak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apabila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kaligus</a:t>
            </a:r>
            <a:r>
              <a:rPr lang="en-US" dirty="0">
                <a:latin typeface="Calibri 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dirty="0" err="1">
                <a:latin typeface="Calibri "/>
              </a:rPr>
              <a:t>Jaminan</a:t>
            </a:r>
            <a:r>
              <a:rPr lang="en-US" b="1" dirty="0">
                <a:latin typeface="Calibri "/>
              </a:rPr>
              <a:t> </a:t>
            </a:r>
            <a:r>
              <a:rPr lang="en-US" b="1" dirty="0" err="1">
                <a:latin typeface="Calibri "/>
              </a:rPr>
              <a:t>Pelaksanaan</a:t>
            </a:r>
            <a:r>
              <a:rPr lang="en-US" b="1" dirty="0">
                <a:latin typeface="Calibri "/>
              </a:rPr>
              <a:t> (</a:t>
            </a:r>
            <a:r>
              <a:rPr lang="en-US" b="1" i="1" dirty="0">
                <a:latin typeface="Calibri "/>
              </a:rPr>
              <a:t>Performance Security</a:t>
            </a:r>
            <a:r>
              <a:rPr lang="en-US" b="1" dirty="0">
                <a:latin typeface="Calibri "/>
              </a:rPr>
              <a:t>) </a:t>
            </a:r>
            <a:r>
              <a:rPr lang="en-US" dirty="0" err="1">
                <a:latin typeface="Calibri "/>
              </a:rPr>
              <a:t>sebesar</a:t>
            </a:r>
            <a:r>
              <a:rPr lang="en-US" dirty="0">
                <a:latin typeface="Calibri "/>
              </a:rPr>
              <a:t> </a:t>
            </a:r>
            <a:r>
              <a:rPr lang="en-US" b="1" dirty="0">
                <a:latin typeface="Calibri "/>
              </a:rPr>
              <a:t>5%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ar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Kontrak</a:t>
            </a:r>
            <a:r>
              <a:rPr lang="en-US" dirty="0">
                <a:latin typeface="Calibri "/>
              </a:rPr>
              <a:t> (</a:t>
            </a:r>
            <a:r>
              <a:rPr lang="en-US" dirty="0" err="1">
                <a:latin typeface="Calibri "/>
              </a:rPr>
              <a:t>dalam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riode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mbayaran</a:t>
            </a:r>
            <a:r>
              <a:rPr lang="en-US" dirty="0">
                <a:latin typeface="Calibri "/>
              </a:rPr>
              <a:t>)</a:t>
            </a:r>
          </a:p>
          <a:p>
            <a:pPr marL="266700">
              <a:buNone/>
            </a:pPr>
            <a:r>
              <a:rPr lang="en-US" dirty="0" err="1">
                <a:latin typeface="Calibri "/>
              </a:rPr>
              <a:t>Untuk</a:t>
            </a:r>
            <a:r>
              <a:rPr lang="en-US" dirty="0">
                <a:latin typeface="Calibri "/>
              </a:rPr>
              <a:t> :</a:t>
            </a:r>
          </a:p>
          <a:p>
            <a:pPr marL="806450" lvl="2" indent="-182563">
              <a:buFont typeface="Wingdings" panose="05000000000000000000" pitchFamily="2" charset="2"/>
              <a:buChar char="§"/>
              <a:tabLst>
                <a:tab pos="806450" algn="l"/>
              </a:tabLst>
            </a:pPr>
            <a:r>
              <a:rPr lang="en-US" dirty="0" err="1">
                <a:latin typeface="Calibri "/>
              </a:rPr>
              <a:t>Pembayar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uh</a:t>
            </a:r>
            <a:r>
              <a:rPr lang="en-US" dirty="0">
                <a:latin typeface="Calibri "/>
              </a:rPr>
              <a:t> – </a:t>
            </a:r>
            <a:r>
              <a:rPr lang="en-US" dirty="0" err="1">
                <a:latin typeface="Calibri "/>
              </a:rPr>
              <a:t>Jamin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laksana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lama</a:t>
            </a:r>
            <a:r>
              <a:rPr lang="en-US" dirty="0">
                <a:latin typeface="Calibri "/>
              </a:rPr>
              <a:t> masa </a:t>
            </a:r>
            <a:r>
              <a:rPr lang="en-US" dirty="0" err="1">
                <a:latin typeface="Calibri "/>
              </a:rPr>
              <a:t>pelaksana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kontrak</a:t>
            </a:r>
            <a:endParaRPr lang="en-US" dirty="0">
              <a:latin typeface="Calibri "/>
            </a:endParaRPr>
          </a:p>
          <a:p>
            <a:pPr marL="806450" lvl="2" indent="-182563">
              <a:buFont typeface="Wingdings" panose="05000000000000000000" pitchFamily="2" charset="2"/>
              <a:buChar char="§"/>
              <a:tabLst>
                <a:tab pos="806450" algn="l"/>
              </a:tabLst>
            </a:pPr>
            <a:r>
              <a:rPr lang="en-US" dirty="0" err="1">
                <a:latin typeface="Calibri "/>
              </a:rPr>
              <a:t>Kontrak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rvis</a:t>
            </a:r>
            <a:r>
              <a:rPr lang="en-US" dirty="0">
                <a:latin typeface="Calibri "/>
              </a:rPr>
              <a:t> – </a:t>
            </a:r>
            <a:r>
              <a:rPr lang="en-US" dirty="0" err="1">
                <a:latin typeface="Calibri "/>
              </a:rPr>
              <a:t>Jamin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laksana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lama</a:t>
            </a:r>
            <a:r>
              <a:rPr lang="en-US" dirty="0">
                <a:latin typeface="Calibri "/>
              </a:rPr>
              <a:t> masa </a:t>
            </a:r>
            <a:r>
              <a:rPr lang="en-US" dirty="0" err="1">
                <a:latin typeface="Calibri "/>
              </a:rPr>
              <a:t>berlakunya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kontrak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jak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girim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erakhir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ampa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eng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berakhirnya</a:t>
            </a:r>
            <a:r>
              <a:rPr lang="en-US" dirty="0">
                <a:latin typeface="Calibri "/>
              </a:rPr>
              <a:t> masa </a:t>
            </a:r>
            <a:r>
              <a:rPr lang="en-US" dirty="0" err="1">
                <a:latin typeface="Calibri "/>
              </a:rPr>
              <a:t>garansi</a:t>
            </a:r>
            <a:endParaRPr lang="en-US" dirty="0">
              <a:latin typeface="Calibri "/>
            </a:endParaRPr>
          </a:p>
          <a:p>
            <a:pPr marL="0" lvl="2" indent="0">
              <a:buNone/>
              <a:tabLst>
                <a:tab pos="0" algn="l"/>
                <a:tab pos="447675" algn="l"/>
              </a:tabLst>
            </a:pPr>
            <a:r>
              <a:rPr lang="en-US" dirty="0">
                <a:latin typeface="Calibri "/>
              </a:rPr>
              <a:t>Pada </a:t>
            </a:r>
            <a:r>
              <a:rPr lang="en-US" dirty="0" err="1">
                <a:latin typeface="Calibri "/>
              </a:rPr>
              <a:t>saat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kerja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lesai</a:t>
            </a:r>
            <a:r>
              <a:rPr lang="en-US" dirty="0">
                <a:latin typeface="Calibri "/>
              </a:rPr>
              <a:t>: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b="1" dirty="0" err="1">
                <a:latin typeface="Calibri "/>
              </a:rPr>
              <a:t>Jaminan</a:t>
            </a:r>
            <a:r>
              <a:rPr lang="en-US" b="1" dirty="0">
                <a:latin typeface="Calibri "/>
              </a:rPr>
              <a:t> </a:t>
            </a:r>
            <a:r>
              <a:rPr lang="en-US" b="1" dirty="0" err="1">
                <a:latin typeface="Calibri "/>
              </a:rPr>
              <a:t>Pemeliharaan</a:t>
            </a:r>
            <a:r>
              <a:rPr lang="en-US" b="1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besar</a:t>
            </a:r>
            <a:r>
              <a:rPr lang="en-US" dirty="0">
                <a:latin typeface="Calibri "/>
              </a:rPr>
              <a:t> </a:t>
            </a:r>
            <a:r>
              <a:rPr lang="en-US" b="1" dirty="0">
                <a:latin typeface="Calibri "/>
              </a:rPr>
              <a:t>5%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ari</a:t>
            </a:r>
            <a:r>
              <a:rPr lang="en-US" dirty="0">
                <a:latin typeface="Calibri "/>
              </a:rPr>
              <a:t> Nilai </a:t>
            </a:r>
            <a:r>
              <a:rPr lang="en-US" dirty="0" err="1">
                <a:latin typeface="Calibri "/>
              </a:rPr>
              <a:t>Kontrak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erhitung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telah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selesainya</a:t>
            </a:r>
            <a:r>
              <a:rPr lang="en-US" dirty="0">
                <a:latin typeface="Calibri "/>
              </a:rPr>
              <a:t> Uji </a:t>
            </a:r>
            <a:r>
              <a:rPr lang="en-US" dirty="0" err="1">
                <a:latin typeface="Calibri "/>
              </a:rPr>
              <a:t>Coba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Barang</a:t>
            </a:r>
            <a:r>
              <a:rPr lang="en-US" dirty="0">
                <a:latin typeface="Calibri "/>
              </a:rPr>
              <a:t> yang </a:t>
            </a:r>
            <a:r>
              <a:rPr lang="en-US" dirty="0" err="1">
                <a:latin typeface="Calibri "/>
              </a:rPr>
              <a:t>dikirimkan</a:t>
            </a:r>
            <a:r>
              <a:rPr lang="en-US" dirty="0">
                <a:latin typeface="Calibri "/>
              </a:rPr>
              <a:t> di </a:t>
            </a:r>
            <a:r>
              <a:rPr lang="en-US" dirty="0" err="1">
                <a:latin typeface="Calibri "/>
              </a:rPr>
              <a:t>tahap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girim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erakhir</a:t>
            </a:r>
            <a:r>
              <a:rPr lang="en-US" dirty="0">
                <a:latin typeface="Calibri "/>
              </a:rPr>
              <a:t> dan </a:t>
            </a:r>
            <a:r>
              <a:rPr lang="en-US" dirty="0" err="1">
                <a:latin typeface="Calibri "/>
              </a:rPr>
              <a:t>setelah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iterbitkannya</a:t>
            </a:r>
            <a:r>
              <a:rPr lang="en-US" dirty="0">
                <a:latin typeface="Calibri "/>
              </a:rPr>
              <a:t> BAST dan </a:t>
            </a:r>
            <a:r>
              <a:rPr lang="en-US" dirty="0" err="1">
                <a:latin typeface="Calibri "/>
              </a:rPr>
              <a:t>setelah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yedia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memenuh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rsyarat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erkait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nyelesai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enda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keterlambat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rbaik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atau</a:t>
            </a:r>
            <a:r>
              <a:rPr lang="en-US" dirty="0">
                <a:latin typeface="Calibri "/>
              </a:rPr>
              <a:t> downtime yang </a:t>
            </a:r>
            <a:r>
              <a:rPr lang="en-US" dirty="0" err="1">
                <a:latin typeface="Calibri "/>
              </a:rPr>
              <a:t>lebih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inggi</a:t>
            </a:r>
            <a:r>
              <a:rPr lang="en-US" dirty="0">
                <a:latin typeface="Calibri "/>
              </a:rPr>
              <a:t>.</a:t>
            </a:r>
          </a:p>
          <a:p>
            <a:pPr marL="271463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Calibri "/>
              </a:rPr>
              <a:t>Masa </a:t>
            </a:r>
            <a:r>
              <a:rPr lang="en-US" dirty="0" err="1">
                <a:latin typeface="Calibri "/>
              </a:rPr>
              <a:t>berlaku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Jamin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Pemeliharaan</a:t>
            </a:r>
            <a:r>
              <a:rPr lang="en-US" dirty="0">
                <a:latin typeface="Calibri "/>
              </a:rPr>
              <a:t> (</a:t>
            </a:r>
            <a:r>
              <a:rPr lang="en-US" dirty="0" err="1">
                <a:latin typeface="Calibri "/>
              </a:rPr>
              <a:t>Jaminan</a:t>
            </a:r>
            <a:r>
              <a:rPr lang="en-US" dirty="0">
                <a:latin typeface="Calibri "/>
              </a:rPr>
              <a:t> Masa </a:t>
            </a:r>
            <a:r>
              <a:rPr lang="en-US" dirty="0" err="1">
                <a:latin typeface="Calibri "/>
              </a:rPr>
              <a:t>Garansi</a:t>
            </a:r>
            <a:r>
              <a:rPr lang="en-US" dirty="0">
                <a:latin typeface="Calibri "/>
              </a:rPr>
              <a:t>) </a:t>
            </a:r>
            <a:r>
              <a:rPr lang="en-US" dirty="0" err="1">
                <a:latin typeface="Calibri "/>
              </a:rPr>
              <a:t>sejak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tanggal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iterbitkannya</a:t>
            </a:r>
            <a:r>
              <a:rPr lang="en-US" dirty="0">
                <a:latin typeface="Calibri "/>
              </a:rPr>
              <a:t> BASTO/BAST </a:t>
            </a:r>
            <a:r>
              <a:rPr lang="en-US" dirty="0" err="1">
                <a:latin typeface="Calibri "/>
              </a:rPr>
              <a:t>sampai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dengan</a:t>
            </a:r>
            <a:r>
              <a:rPr lang="en-US" dirty="0">
                <a:latin typeface="Calibri "/>
              </a:rPr>
              <a:t> </a:t>
            </a:r>
            <a:r>
              <a:rPr lang="en-US" dirty="0" err="1">
                <a:latin typeface="Calibri "/>
              </a:rPr>
              <a:t>berakhirnya</a:t>
            </a:r>
            <a:r>
              <a:rPr lang="en-US" dirty="0">
                <a:latin typeface="Calibri "/>
              </a:rPr>
              <a:t> Masa </a:t>
            </a:r>
            <a:r>
              <a:rPr lang="en-US" dirty="0" err="1">
                <a:latin typeface="Calibri "/>
              </a:rPr>
              <a:t>Garansi</a:t>
            </a:r>
            <a:r>
              <a:rPr lang="en-US" dirty="0">
                <a:latin typeface="Calibri 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9914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443368-5165-D62B-34CB-4DCC8851B0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80F7A3-BB5E-5AFF-28C5-7210AD110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23109"/>
            <a:ext cx="12192000" cy="4241074"/>
          </a:xfrm>
          <a:solidFill>
            <a:srgbClr val="16B3AC"/>
          </a:solidFill>
        </p:spPr>
        <p:txBody>
          <a:bodyPr anchor="ctr">
            <a:normAutofit/>
          </a:bodyPr>
          <a:lstStyle/>
          <a:p>
            <a:pPr algn="ctr"/>
            <a:r>
              <a:rPr 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l yang Boleh dan Tidak Boleh</a:t>
            </a:r>
          </a:p>
        </p:txBody>
      </p:sp>
    </p:spTree>
    <p:extLst>
      <p:ext uri="{BB962C8B-B14F-4D97-AF65-F5344CB8AC3E}">
        <p14:creationId xmlns:p14="http://schemas.microsoft.com/office/powerpoint/2010/main" val="29616884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74BEBD-A178-F588-6430-F2723F6EFF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94FAB1A-267A-90F5-3947-3316B04279AA}"/>
              </a:ext>
            </a:extLst>
          </p:cNvPr>
          <p:cNvSpPr/>
          <p:nvPr/>
        </p:nvSpPr>
        <p:spPr>
          <a:xfrm>
            <a:off x="0" y="0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2D9D4C-6553-4AC0-F0D1-2D6AE9ACF915}"/>
              </a:ext>
            </a:extLst>
          </p:cNvPr>
          <p:cNvSpPr txBox="1"/>
          <p:nvPr/>
        </p:nvSpPr>
        <p:spPr>
          <a:xfrm>
            <a:off x="475673" y="248968"/>
            <a:ext cx="9979573" cy="321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+mn-lt"/>
              </a:rPr>
              <a:t>Hal yang Boleh dan Tidak Boleh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4C59F4-5FA8-77D9-CC39-928610CAC1AE}"/>
              </a:ext>
            </a:extLst>
          </p:cNvPr>
          <p:cNvSpPr txBox="1"/>
          <p:nvPr/>
        </p:nvSpPr>
        <p:spPr>
          <a:xfrm>
            <a:off x="4424118" y="1175061"/>
            <a:ext cx="2931269" cy="32101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 err="1"/>
              <a:t>Contoh</a:t>
            </a:r>
            <a:r>
              <a:rPr lang="en-US" sz="1600" b="1" dirty="0"/>
              <a:t> Pengalaman Khusu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7264D05-1002-26AC-B5FF-36AE3271EDB5}"/>
              </a:ext>
            </a:extLst>
          </p:cNvPr>
          <p:cNvGrpSpPr/>
          <p:nvPr/>
        </p:nvGrpSpPr>
        <p:grpSpPr>
          <a:xfrm>
            <a:off x="636566" y="1835194"/>
            <a:ext cx="5243014" cy="1044030"/>
            <a:chOff x="1307775" y="1901417"/>
            <a:chExt cx="5243014" cy="104403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27B531F-F701-FE49-2E36-6F7AAB992F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07775" y="1901417"/>
              <a:ext cx="5243014" cy="104403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ADC5E2E-06A3-670D-351B-33ECEEE7D2FA}"/>
                </a:ext>
              </a:extLst>
            </p:cNvPr>
            <p:cNvSpPr/>
            <p:nvPr/>
          </p:nvSpPr>
          <p:spPr>
            <a:xfrm>
              <a:off x="4238017" y="2349252"/>
              <a:ext cx="1857982" cy="199395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587FA50-B0E4-4BA2-CC31-75A6565BCBDE}"/>
              </a:ext>
            </a:extLst>
          </p:cNvPr>
          <p:cNvGrpSpPr/>
          <p:nvPr/>
        </p:nvGrpSpPr>
        <p:grpSpPr>
          <a:xfrm>
            <a:off x="1071066" y="3073551"/>
            <a:ext cx="4353724" cy="967824"/>
            <a:chOff x="1742275" y="3038212"/>
            <a:chExt cx="4353724" cy="96782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C03C67C-0CF0-A022-3D08-936433DD2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42275" y="3038212"/>
              <a:ext cx="4353724" cy="96782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4EF2B81-FE6F-BCEE-A081-A43829A14A6E}"/>
                </a:ext>
              </a:extLst>
            </p:cNvPr>
            <p:cNvSpPr/>
            <p:nvPr/>
          </p:nvSpPr>
          <p:spPr>
            <a:xfrm>
              <a:off x="4166897" y="3291720"/>
              <a:ext cx="1180289" cy="187023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0CEF396-CF47-7943-A4D9-19DE9FA1D4FF}"/>
              </a:ext>
            </a:extLst>
          </p:cNvPr>
          <p:cNvGrpSpPr/>
          <p:nvPr/>
        </p:nvGrpSpPr>
        <p:grpSpPr>
          <a:xfrm>
            <a:off x="964254" y="4269264"/>
            <a:ext cx="4587638" cy="1356478"/>
            <a:chOff x="1508361" y="4229170"/>
            <a:chExt cx="4587638" cy="1356478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1F49F93-211C-7C39-FCC0-668D288775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08361" y="4229170"/>
              <a:ext cx="4587638" cy="135647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FCCE470-3E36-B430-3B55-5EBB85EA9FBC}"/>
                </a:ext>
              </a:extLst>
            </p:cNvPr>
            <p:cNvSpPr/>
            <p:nvPr/>
          </p:nvSpPr>
          <p:spPr>
            <a:xfrm>
              <a:off x="4238017" y="4907409"/>
              <a:ext cx="1374843" cy="238523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FFE16FF8-BF89-0682-FE8F-907D1A7FC7F0}"/>
              </a:ext>
            </a:extLst>
          </p:cNvPr>
          <p:cNvSpPr txBox="1"/>
          <p:nvPr/>
        </p:nvSpPr>
        <p:spPr>
          <a:xfrm>
            <a:off x="7355387" y="1811992"/>
            <a:ext cx="3904726" cy="1186197"/>
          </a:xfrm>
          <a:prstGeom prst="rect">
            <a:avLst/>
          </a:prstGeom>
          <a:ln w="6350">
            <a:solidFill>
              <a:schemeClr val="tx1"/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b="1" dirty="0" err="1"/>
              <a:t>Pastikan</a:t>
            </a:r>
            <a:r>
              <a:rPr lang="en-US" b="1" dirty="0"/>
              <a:t> </a:t>
            </a:r>
            <a:r>
              <a:rPr lang="en-US" b="1" dirty="0" err="1"/>
              <a:t>Kontrak</a:t>
            </a:r>
            <a:r>
              <a:rPr lang="en-US" b="1" dirty="0"/>
              <a:t>/PO yang </a:t>
            </a:r>
            <a:r>
              <a:rPr lang="en-US" b="1" dirty="0" err="1"/>
              <a:t>disampaikan</a:t>
            </a:r>
            <a:r>
              <a:rPr lang="en-US" b="1" dirty="0"/>
              <a:t> </a:t>
            </a:r>
            <a:r>
              <a:rPr lang="en-US" b="1" dirty="0" err="1"/>
              <a:t>berurutan</a:t>
            </a:r>
            <a:r>
              <a:rPr lang="en-US" b="1" dirty="0"/>
              <a:t> dan </a:t>
            </a:r>
            <a:r>
              <a:rPr lang="en-US" b="1" dirty="0" err="1"/>
              <a:t>lengkap</a:t>
            </a:r>
            <a:r>
              <a:rPr lang="en-US" b="1" dirty="0"/>
              <a:t>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FC2ABB2-C7AD-5032-0949-48BB1FF56C24}"/>
              </a:ext>
            </a:extLst>
          </p:cNvPr>
          <p:cNvSpPr txBox="1"/>
          <p:nvPr/>
        </p:nvSpPr>
        <p:spPr>
          <a:xfrm>
            <a:off x="6640110" y="3073551"/>
            <a:ext cx="5208179" cy="295465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zh-CN" sz="1600" dirty="0">
                <a:effectLst/>
                <a:ea typeface="Footlight MT Light" panose="0204060206030A020304" pitchFamily="18" charset="0"/>
              </a:rPr>
              <a:t>Detail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kontrak</a:t>
            </a:r>
            <a:r>
              <a:rPr lang="en-US" altLang="zh-CN" sz="1600" dirty="0">
                <a:effectLst/>
                <a:ea typeface="Footlight MT Light" panose="0204060206030A020304" pitchFamily="18" charset="0"/>
              </a:rPr>
              <a:t>: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 </a:t>
            </a:r>
            <a:endParaRPr lang="en-US" altLang="zh-CN" sz="1600" dirty="0">
              <a:effectLst/>
              <a:ea typeface="Footlight MT Light" panose="0204060206030A020304" pitchFamily="18" charset="0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zh-CN" sz="1600" dirty="0">
                <a:effectLst/>
                <a:ea typeface="Footlight MT Light" panose="0204060206030A020304" pitchFamily="18" charset="0"/>
              </a:rPr>
              <a:t>N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ama dan alamat pembe</a:t>
            </a:r>
            <a:r>
              <a:rPr lang="zh-CN" sz="1600">
                <a:effectLst/>
                <a:ea typeface="Footlight MT Light" panose="0204060206030A020304" pitchFamily="18" charset="0"/>
              </a:rPr>
              <a:t>li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nega</a:t>
            </a:r>
            <a:r>
              <a:rPr lang="zh-CN" sz="1600">
                <a:effectLst/>
                <a:ea typeface="Footlight MT Light" panose="0204060206030A020304" pitchFamily="18" charset="0"/>
              </a:rPr>
              <a:t>ra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nama dan objek kontr</a:t>
            </a:r>
            <a:r>
              <a:rPr lang="zh-CN" sz="1600">
                <a:effectLst/>
                <a:ea typeface="Footlight MT Light" panose="0204060206030A020304" pitchFamily="18" charset="0"/>
              </a:rPr>
              <a:t>ak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ruang lingkup layan</a:t>
            </a:r>
            <a:r>
              <a:rPr lang="zh-CN" sz="1600">
                <a:effectLst/>
                <a:ea typeface="Footlight MT Light" panose="0204060206030A020304" pitchFamily="18" charset="0"/>
              </a:rPr>
              <a:t>an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tanggal penyelesaian kontr</a:t>
            </a:r>
            <a:r>
              <a:rPr lang="zh-CN" sz="1600">
                <a:effectLst/>
                <a:ea typeface="Footlight MT Light" panose="0204060206030A020304" pitchFamily="18" charset="0"/>
              </a:rPr>
              <a:t>ak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peralatan yang disediak</a:t>
            </a:r>
            <a:r>
              <a:rPr lang="zh-CN" sz="1600">
                <a:effectLst/>
                <a:ea typeface="Footlight MT Light" panose="0204060206030A020304" pitchFamily="18" charset="0"/>
              </a:rPr>
              <a:t>an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jumlah kontr</a:t>
            </a:r>
            <a:r>
              <a:rPr lang="zh-CN" sz="1600">
                <a:effectLst/>
                <a:ea typeface="Footlight MT Light" panose="0204060206030A020304" pitchFamily="18" charset="0"/>
              </a:rPr>
              <a:t>ak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peran dalam kontrak terkait (penyedia jasa uta</a:t>
            </a:r>
            <a:r>
              <a:rPr lang="zh-CN" sz="1600">
                <a:effectLst/>
                <a:ea typeface="Footlight MT Light" panose="0204060206030A020304" pitchFamily="18" charset="0"/>
              </a:rPr>
              <a:t>ma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subkontrakt</a:t>
            </a:r>
            <a:r>
              <a:rPr lang="zh-CN" sz="1600">
                <a:effectLst/>
                <a:ea typeface="Footlight MT Light" panose="0204060206030A020304" pitchFamily="18" charset="0"/>
              </a:rPr>
              <a:t>or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anggota KS</a:t>
            </a:r>
            <a:r>
              <a:rPr lang="zh-CN" sz="1600">
                <a:effectLst/>
                <a:ea typeface="Footlight MT Light" panose="0204060206030A020304" pitchFamily="18" charset="0"/>
              </a:rPr>
              <a:t>O), </a:t>
            </a:r>
            <a:r>
              <a:rPr lang="zh-CN" sz="1600" dirty="0">
                <a:effectLst/>
                <a:ea typeface="Footlight MT Light" panose="0204060206030A020304" pitchFamily="18" charset="0"/>
              </a:rPr>
              <a:t>dan persentase dari nilai kontrak yang dilakukan melalui subkontrak.</a:t>
            </a:r>
            <a:endParaRPr lang="en-US" altLang="zh-CN" sz="1600" dirty="0">
              <a:effectLst/>
              <a:ea typeface="Footlight MT Light" panose="0204060206030A020304" pitchFamily="18" charset="0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 err="1">
                <a:ea typeface="Times New Roman" panose="02020603050405020304" pitchFamily="18" charset="0"/>
              </a:rPr>
              <a:t>Apabila</a:t>
            </a:r>
            <a:r>
              <a:rPr lang="en-US" sz="1600" b="1" dirty="0">
                <a:ea typeface="Times New Roman" panose="02020603050405020304" pitchFamily="18" charset="0"/>
              </a:rPr>
              <a:t> </a:t>
            </a:r>
            <a:r>
              <a:rPr lang="en-US" sz="1600" b="1" dirty="0" err="1">
                <a:ea typeface="Times New Roman" panose="02020603050405020304" pitchFamily="18" charset="0"/>
              </a:rPr>
              <a:t>Kontrak</a:t>
            </a:r>
            <a:r>
              <a:rPr lang="en-US" sz="1600" b="1" dirty="0">
                <a:ea typeface="Times New Roman" panose="02020603050405020304" pitchFamily="18" charset="0"/>
              </a:rPr>
              <a:t> </a:t>
            </a:r>
            <a:r>
              <a:rPr lang="en-US" sz="1600" b="1" dirty="0" err="1">
                <a:ea typeface="Times New Roman" panose="02020603050405020304" pitchFamily="18" charset="0"/>
              </a:rPr>
              <a:t>terdapat</a:t>
            </a:r>
            <a:r>
              <a:rPr lang="en-US" sz="1600" b="1" dirty="0">
                <a:ea typeface="Times New Roman" panose="02020603050405020304" pitchFamily="18" charset="0"/>
              </a:rPr>
              <a:t> NDA (Non Disclosure </a:t>
            </a:r>
            <a:r>
              <a:rPr lang="en-US" sz="1600" b="1">
                <a:ea typeface="Times New Roman" panose="02020603050405020304" pitchFamily="18" charset="0"/>
              </a:rPr>
              <a:t>Agreement), </a:t>
            </a:r>
            <a:r>
              <a:rPr lang="en-US" sz="1600" b="1" dirty="0" err="1">
                <a:ea typeface="Times New Roman" panose="02020603050405020304" pitchFamily="18" charset="0"/>
              </a:rPr>
              <a:t>penyedia</a:t>
            </a:r>
            <a:r>
              <a:rPr lang="en-US" sz="1600" b="1" dirty="0">
                <a:ea typeface="Times New Roman" panose="02020603050405020304" pitchFamily="18" charset="0"/>
              </a:rPr>
              <a:t> </a:t>
            </a:r>
            <a:r>
              <a:rPr lang="en-US" sz="1600" b="1" dirty="0" err="1">
                <a:ea typeface="Times New Roman" panose="02020603050405020304" pitchFamily="18" charset="0"/>
              </a:rPr>
              <a:t>dapat</a:t>
            </a:r>
            <a:r>
              <a:rPr lang="en-US" sz="1600" b="1" dirty="0">
                <a:ea typeface="Times New Roman" panose="02020603050405020304" pitchFamily="18" charset="0"/>
              </a:rPr>
              <a:t> </a:t>
            </a:r>
            <a:r>
              <a:rPr lang="en-US" sz="1600" b="1" dirty="0" err="1">
                <a:ea typeface="Times New Roman" panose="02020603050405020304" pitchFamily="18" charset="0"/>
              </a:rPr>
              <a:t>memberikan</a:t>
            </a:r>
            <a:r>
              <a:rPr lang="en-US" sz="1600" b="1" dirty="0">
                <a:ea typeface="Times New Roman" panose="02020603050405020304" pitchFamily="18" charset="0"/>
              </a:rPr>
              <a:t> </a:t>
            </a:r>
            <a:r>
              <a:rPr lang="en-US" sz="1600" b="1" dirty="0" err="1">
                <a:ea typeface="Times New Roman" panose="02020603050405020304" pitchFamily="18" charset="0"/>
              </a:rPr>
              <a:t>surat</a:t>
            </a:r>
            <a:r>
              <a:rPr lang="en-US" sz="1600" b="1" dirty="0">
                <a:ea typeface="Times New Roman" panose="02020603050405020304" pitchFamily="18" charset="0"/>
              </a:rPr>
              <a:t> </a:t>
            </a:r>
            <a:r>
              <a:rPr lang="en-US" sz="1600" b="1" dirty="0" err="1">
                <a:ea typeface="Times New Roman" panose="02020603050405020304" pitchFamily="18" charset="0"/>
              </a:rPr>
              <a:t>pernyataan</a:t>
            </a:r>
            <a:r>
              <a:rPr lang="en-US" sz="1600" b="1" dirty="0">
                <a:ea typeface="Times New Roman" panose="02020603050405020304" pitchFamily="18" charset="0"/>
              </a:rPr>
              <a:t> dan </a:t>
            </a:r>
            <a:r>
              <a:rPr lang="en-US" sz="1600" b="1" dirty="0" err="1">
                <a:ea typeface="Times New Roman" panose="02020603050405020304" pitchFamily="18" charset="0"/>
              </a:rPr>
              <a:t>dokumen</a:t>
            </a:r>
            <a:r>
              <a:rPr lang="en-US" sz="1600" b="1" dirty="0">
                <a:ea typeface="Times New Roman" panose="02020603050405020304" pitchFamily="18" charset="0"/>
              </a:rPr>
              <a:t> </a:t>
            </a:r>
            <a:r>
              <a:rPr lang="en-US" sz="1600" b="1" dirty="0" err="1">
                <a:ea typeface="Times New Roman" panose="02020603050405020304" pitchFamily="18" charset="0"/>
              </a:rPr>
              <a:t>pengganti</a:t>
            </a:r>
            <a:r>
              <a:rPr lang="en-US" sz="1600" b="1" dirty="0">
                <a:ea typeface="Times New Roman" panose="02020603050405020304" pitchFamily="18" charset="0"/>
              </a:rPr>
              <a:t> (PO/DO)</a:t>
            </a:r>
            <a:endParaRPr lang="en-US" sz="1600" b="1" dirty="0">
              <a:effectLst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280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51DF00-E1D1-0AAF-B8A6-BC2ABC78023B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936C1-E146-686A-A889-BAA41A020F02}"/>
              </a:ext>
            </a:extLst>
          </p:cNvPr>
          <p:cNvSpPr txBox="1"/>
          <p:nvPr/>
        </p:nvSpPr>
        <p:spPr>
          <a:xfrm>
            <a:off x="457198" y="174743"/>
            <a:ext cx="2905761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pik</a:t>
            </a:r>
            <a:r>
              <a:rPr lang="en-US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mbahasan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2C231A-578F-5892-4536-4FB14FF67B87}"/>
              </a:ext>
            </a:extLst>
          </p:cNvPr>
          <p:cNvSpPr txBox="1"/>
          <p:nvPr/>
        </p:nvSpPr>
        <p:spPr>
          <a:xfrm>
            <a:off x="651753" y="1274323"/>
            <a:ext cx="5291847" cy="227627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 dirty="0" err="1">
                <a:ea typeface="Calibri" panose="020F0502020204030204" pitchFamily="34" charset="0"/>
                <a:cs typeface="Calibri" panose="020F0502020204030204" pitchFamily="34" charset="0"/>
              </a:rPr>
              <a:t>Ketentuan</a:t>
            </a:r>
            <a:r>
              <a:rPr lang="en-US" dirty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a typeface="Calibri" panose="020F0502020204030204" pitchFamily="34" charset="0"/>
                <a:cs typeface="Calibri" panose="020F0502020204030204" pitchFamily="34" charset="0"/>
              </a:rPr>
              <a:t>Umum</a:t>
            </a:r>
            <a:endParaRPr lang="en-US" dirty="0"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>
                <a:ea typeface="Calibri" panose="020F0502020204030204" pitchFamily="34" charset="0"/>
                <a:cs typeface="Calibri" panose="020F0502020204030204" pitchFamily="34" charset="0"/>
              </a:rPr>
              <a:t>Legalitas, </a:t>
            </a:r>
            <a:r>
              <a:rPr lang="en-US" dirty="0" err="1">
                <a:ea typeface="Calibri" panose="020F0502020204030204" pitchFamily="34" charset="0"/>
                <a:cs typeface="Calibri" panose="020F0502020204030204" pitchFamily="34" charset="0"/>
              </a:rPr>
              <a:t>Evaluasi</a:t>
            </a:r>
            <a:r>
              <a:rPr lang="en-US" dirty="0">
                <a:ea typeface="Calibri" panose="020F0502020204030204" pitchFamily="34" charset="0"/>
                <a:cs typeface="Calibri" panose="020F0502020204030204" pitchFamily="34" charset="0"/>
              </a:rPr>
              <a:t> dan </a:t>
            </a:r>
            <a:r>
              <a:rPr lang="en-US" dirty="0" err="1">
                <a:ea typeface="Calibri" panose="020F0502020204030204" pitchFamily="34" charset="0"/>
                <a:cs typeface="Calibri" panose="020F0502020204030204" pitchFamily="34" charset="0"/>
              </a:rPr>
              <a:t>Kualifikasi</a:t>
            </a:r>
            <a:endParaRPr lang="en-US" dirty="0"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 dirty="0"/>
              <a:t>Hal yang </a:t>
            </a:r>
            <a:r>
              <a:rPr lang="en-US" dirty="0" err="1"/>
              <a:t>Boleh</a:t>
            </a:r>
            <a:r>
              <a:rPr lang="en-US" dirty="0"/>
              <a:t> dan Tidak </a:t>
            </a:r>
            <a:r>
              <a:rPr lang="en-US" dirty="0" err="1"/>
              <a:t>Bole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69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CF3D57-48AB-9950-E10C-9D73B8295E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ADE58E-7B5A-DD3A-CACA-8199D49E34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1" y="391"/>
            <a:ext cx="12151898" cy="6835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1518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1BE624-15AD-833C-CE9D-014B36560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561F61C-F242-6768-2F63-16BCA648BF02}"/>
              </a:ext>
            </a:extLst>
          </p:cNvPr>
          <p:cNvSpPr/>
          <p:nvPr/>
        </p:nvSpPr>
        <p:spPr>
          <a:xfrm>
            <a:off x="0" y="0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0F28F5-8B1E-A0EB-9202-BFEE00BD1A65}"/>
              </a:ext>
            </a:extLst>
          </p:cNvPr>
          <p:cNvSpPr txBox="1"/>
          <p:nvPr/>
        </p:nvSpPr>
        <p:spPr>
          <a:xfrm>
            <a:off x="475673" y="248968"/>
            <a:ext cx="9979573" cy="321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+mn-lt"/>
              </a:rPr>
              <a:t>Hal yang Boleh dan Tidak Boleh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E3FBF8-B646-1A18-0385-E569A2CCF857}"/>
              </a:ext>
            </a:extLst>
          </p:cNvPr>
          <p:cNvGrpSpPr/>
          <p:nvPr/>
        </p:nvGrpSpPr>
        <p:grpSpPr>
          <a:xfrm>
            <a:off x="1291413" y="1520160"/>
            <a:ext cx="9273702" cy="4318905"/>
            <a:chOff x="1271081" y="1595596"/>
            <a:chExt cx="9273702" cy="431890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54A6CD6-5A59-428A-25B0-51F437FBB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34417" y="1595596"/>
              <a:ext cx="8338956" cy="4318905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56B001C-C987-7DA6-E7FA-34EEA29FF6F3}"/>
                </a:ext>
              </a:extLst>
            </p:cNvPr>
            <p:cNvSpPr txBox="1"/>
            <p:nvPr/>
          </p:nvSpPr>
          <p:spPr>
            <a:xfrm>
              <a:off x="9523379" y="3266061"/>
              <a:ext cx="1021404" cy="325877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600" b="1" dirty="0"/>
                <a:t>ROW 2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A844F99-1D60-C038-401B-0865A17BC312}"/>
                </a:ext>
              </a:extLst>
            </p:cNvPr>
            <p:cNvSpPr txBox="1"/>
            <p:nvPr/>
          </p:nvSpPr>
          <p:spPr>
            <a:xfrm>
              <a:off x="1271081" y="4936698"/>
              <a:ext cx="1021404" cy="325877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600" b="1" dirty="0"/>
                <a:t>ROW 21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4B4E896-87AA-356E-E239-B8CCE238967D}"/>
                </a:ext>
              </a:extLst>
            </p:cNvPr>
            <p:cNvSpPr/>
            <p:nvPr/>
          </p:nvSpPr>
          <p:spPr>
            <a:xfrm>
              <a:off x="3492229" y="2577830"/>
              <a:ext cx="5282119" cy="612842"/>
            </a:xfrm>
            <a:prstGeom prst="rect">
              <a:avLst/>
            </a:prstGeom>
            <a:solidFill>
              <a:srgbClr val="80808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BCAC29F-1BB4-6404-84A8-D3C9D96F3743}"/>
              </a:ext>
            </a:extLst>
          </p:cNvPr>
          <p:cNvSpPr txBox="1"/>
          <p:nvPr/>
        </p:nvSpPr>
        <p:spPr>
          <a:xfrm>
            <a:off x="4187018" y="1246331"/>
            <a:ext cx="3933204" cy="26998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 err="1"/>
              <a:t>Contoh</a:t>
            </a:r>
            <a:r>
              <a:rPr lang="en-US" sz="1600" b="1" dirty="0"/>
              <a:t> </a:t>
            </a:r>
            <a:r>
              <a:rPr lang="en-US" sz="1600" b="1" dirty="0" err="1"/>
              <a:t>penulisan</a:t>
            </a:r>
            <a:r>
              <a:rPr lang="en-US" sz="1600" b="1" dirty="0"/>
              <a:t> </a:t>
            </a:r>
            <a:r>
              <a:rPr lang="en-US" sz="1600" b="1" dirty="0" err="1"/>
              <a:t>referensi</a:t>
            </a:r>
            <a:r>
              <a:rPr lang="en-US" sz="1600" b="1" dirty="0"/>
              <a:t> yang </a:t>
            </a:r>
            <a:r>
              <a:rPr lang="en-US" sz="1600" b="1" dirty="0" err="1"/>
              <a:t>benar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3327777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9662B-9878-ED64-C1FE-A86E4F1F9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E432A75-E771-1E97-BB2F-CC61D80BF2A3}"/>
              </a:ext>
            </a:extLst>
          </p:cNvPr>
          <p:cNvSpPr/>
          <p:nvPr/>
        </p:nvSpPr>
        <p:spPr>
          <a:xfrm>
            <a:off x="0" y="0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C55F9D-2DB4-DFEB-2954-1779B227FF5E}"/>
              </a:ext>
            </a:extLst>
          </p:cNvPr>
          <p:cNvSpPr txBox="1"/>
          <p:nvPr/>
        </p:nvSpPr>
        <p:spPr>
          <a:xfrm>
            <a:off x="475673" y="248968"/>
            <a:ext cx="9979573" cy="321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+mn-lt"/>
              </a:rPr>
              <a:t>Hal yang Boleh dan Tidak Boleh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2F19DC6-841F-07A3-8B1C-245D41AA29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0412966"/>
              </p:ext>
            </p:extLst>
          </p:nvPr>
        </p:nvGraphicFramePr>
        <p:xfrm>
          <a:off x="1273651" y="1005840"/>
          <a:ext cx="9936938" cy="5273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859056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>
            <a:extLst>
              <a:ext uri="{FF2B5EF4-FFF2-40B4-BE49-F238E27FC236}">
                <a16:creationId xmlns:a16="http://schemas.microsoft.com/office/drawing/2014/main" id="{AA025FA5-F359-4496-940B-125BE1610A7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err="1"/>
              <a:t>ß</a:t>
            </a:r>
            <a:endParaRPr lang="en-US"/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7F7CF704-78E3-4F38-9855-8F11DF5817A8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64E0BC1-2FA5-4B9E-B879-039152857B95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0C47CB-702E-4E33-8DE1-720811BB5F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391"/>
            <a:ext cx="12192000" cy="68476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52B938A-5941-6F63-230E-BE32BA5E480E}"/>
              </a:ext>
            </a:extLst>
          </p:cNvPr>
          <p:cNvSpPr txBox="1"/>
          <p:nvPr/>
        </p:nvSpPr>
        <p:spPr>
          <a:xfrm>
            <a:off x="4702627" y="2090060"/>
            <a:ext cx="3145972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3200" b="1" dirty="0">
                <a:solidFill>
                  <a:schemeClr val="bg1"/>
                </a:solidFill>
              </a:rPr>
              <a:t>TERIMA KASIH</a:t>
            </a:r>
            <a:endParaRPr lang="en-ID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497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686435-BD22-09BB-C46B-514F474CC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23109"/>
            <a:ext cx="12192000" cy="4241074"/>
          </a:xfrm>
          <a:solidFill>
            <a:srgbClr val="16B3AC"/>
          </a:solidFill>
        </p:spPr>
        <p:txBody>
          <a:bodyPr anchor="ctr">
            <a:normAutofit/>
          </a:bodyPr>
          <a:lstStyle/>
          <a:p>
            <a:pPr algn="ctr"/>
            <a:r>
              <a:rPr lang="en-US" sz="4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tentuan</a:t>
            </a:r>
            <a:r>
              <a:rPr 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mum</a:t>
            </a:r>
            <a:endParaRPr 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461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50540-D17F-A02A-D534-EA83BFFC9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1953E34-154E-0017-B37C-9372A6D4D8A4}"/>
              </a:ext>
            </a:extLst>
          </p:cNvPr>
          <p:cNvSpPr/>
          <p:nvPr/>
        </p:nvSpPr>
        <p:spPr>
          <a:xfrm>
            <a:off x="1" y="2"/>
            <a:ext cx="12192000" cy="57722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31EC5E-1A62-55D4-CC60-A787C67C8757}"/>
              </a:ext>
            </a:extLst>
          </p:cNvPr>
          <p:cNvSpPr txBox="1"/>
          <p:nvPr/>
        </p:nvSpPr>
        <p:spPr>
          <a:xfrm>
            <a:off x="435427" y="65885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curement Plan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DCC2F5-62FC-C031-38E9-C8AF4B5B012B}"/>
              </a:ext>
            </a:extLst>
          </p:cNvPr>
          <p:cNvSpPr txBox="1"/>
          <p:nvPr/>
        </p:nvSpPr>
        <p:spPr>
          <a:xfrm>
            <a:off x="195942" y="2417818"/>
            <a:ext cx="1632857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mpil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PSE</a:t>
            </a:r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FCFB481-7D09-D6EB-A91E-7DCEF3D82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209410"/>
              </p:ext>
            </p:extLst>
          </p:nvPr>
        </p:nvGraphicFramePr>
        <p:xfrm>
          <a:off x="118396" y="629976"/>
          <a:ext cx="11955208" cy="1745872"/>
        </p:xfrm>
        <a:graphic>
          <a:graphicData uri="http://schemas.openxmlformats.org/drawingml/2006/table">
            <a:tbl>
              <a:tblPr/>
              <a:tblGrid>
                <a:gridCol w="395406">
                  <a:extLst>
                    <a:ext uri="{9D8B030D-6E8A-4147-A177-3AD203B41FA5}">
                      <a16:colId xmlns:a16="http://schemas.microsoft.com/office/drawing/2014/main" val="1270717317"/>
                    </a:ext>
                  </a:extLst>
                </a:gridCol>
                <a:gridCol w="5505998">
                  <a:extLst>
                    <a:ext uri="{9D8B030D-6E8A-4147-A177-3AD203B41FA5}">
                      <a16:colId xmlns:a16="http://schemas.microsoft.com/office/drawing/2014/main" val="1382946397"/>
                    </a:ext>
                  </a:extLst>
                </a:gridCol>
                <a:gridCol w="968829">
                  <a:extLst>
                    <a:ext uri="{9D8B030D-6E8A-4147-A177-3AD203B41FA5}">
                      <a16:colId xmlns:a16="http://schemas.microsoft.com/office/drawing/2014/main" val="2481977562"/>
                    </a:ext>
                  </a:extLst>
                </a:gridCol>
                <a:gridCol w="1262742">
                  <a:extLst>
                    <a:ext uri="{9D8B030D-6E8A-4147-A177-3AD203B41FA5}">
                      <a16:colId xmlns:a16="http://schemas.microsoft.com/office/drawing/2014/main" val="2825703984"/>
                    </a:ext>
                  </a:extLst>
                </a:gridCol>
                <a:gridCol w="1612614">
                  <a:extLst>
                    <a:ext uri="{9D8B030D-6E8A-4147-A177-3AD203B41FA5}">
                      <a16:colId xmlns:a16="http://schemas.microsoft.com/office/drawing/2014/main" val="3246159510"/>
                    </a:ext>
                  </a:extLst>
                </a:gridCol>
                <a:gridCol w="2209619">
                  <a:extLst>
                    <a:ext uri="{9D8B030D-6E8A-4147-A177-3AD203B41FA5}">
                      <a16:colId xmlns:a16="http://schemas.microsoft.com/office/drawing/2014/main" val="815920295"/>
                    </a:ext>
                  </a:extLst>
                </a:gridCol>
              </a:tblGrid>
              <a:tr h="497617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</a:t>
                      </a: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a </a:t>
                      </a:r>
                      <a:r>
                        <a:rPr lang="en-ID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ket</a:t>
                      </a:r>
                      <a:endParaRPr lang="en-ID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tode</a:t>
                      </a:r>
                      <a:endParaRPr lang="en-ID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umlah</a:t>
                      </a:r>
                      <a:r>
                        <a:rPr lang="en-ID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Unit</a:t>
                      </a: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rga Unit</a:t>
                      </a: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imasi</a:t>
                      </a:r>
                      <a:r>
                        <a:rPr lang="en-ID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Total</a:t>
                      </a: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1378918"/>
                  </a:ext>
                </a:extLst>
              </a:tr>
              <a:tr h="203571"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urement of Advanced Diagnostics &amp; Treatment Systems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D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d Criteria</a:t>
                      </a: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  <a:endParaRPr lang="en-ID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en-ID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en-ID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4576078"/>
                  </a:ext>
                </a:extLst>
              </a:tr>
              <a:tr h="203571">
                <a:tc vMerge="1"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1 :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thalmoscope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irect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11,224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3,734,691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9922381"/>
                  </a:ext>
                </a:extLst>
              </a:tr>
              <a:tr h="203571">
                <a:tc vMerge="1"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2 : Vein Finder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661,994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,971,964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8729679"/>
                  </a:ext>
                </a:extLst>
              </a:tr>
              <a:tr h="203571">
                <a:tc vMerge="1">
                  <a:txBody>
                    <a:bodyPr/>
                    <a:lstStyle/>
                    <a:p>
                      <a:pPr algn="ctr" fontAlgn="b"/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3 : Laser Ophthalmic Diode Laser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ID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71,806,061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30,836,364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863262"/>
                  </a:ext>
                </a:extLst>
              </a:tr>
              <a:tr h="203571">
                <a:tc vMerge="1">
                  <a:txBody>
                    <a:bodyPr/>
                    <a:lstStyle/>
                    <a:p>
                      <a:pPr algn="ctr" fontAlgn="b"/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4 : Automated Peritoneal Dialysis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ID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5" marR="3655" marT="36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,029,916</a:t>
                      </a:r>
                      <a:endParaRPr lang="en-ID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74,418,824</a:t>
                      </a:r>
                    </a:p>
                  </a:txBody>
                  <a:tcPr marL="3655" marR="3655" marT="36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723402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58CDF3D0-09E9-BEB8-E045-995768760F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396" y="2900637"/>
            <a:ext cx="5836090" cy="283613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72EA60A-003E-9467-9D1A-0C9B4BE15C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2900636"/>
            <a:ext cx="5977605" cy="28361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859CA9D-678B-8C7A-4298-F5704DD46251}"/>
              </a:ext>
            </a:extLst>
          </p:cNvPr>
          <p:cNvSpPr txBox="1"/>
          <p:nvPr/>
        </p:nvSpPr>
        <p:spPr>
          <a:xfrm>
            <a:off x="2637158" y="5850258"/>
            <a:ext cx="620486" cy="2939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LOT 1</a:t>
            </a:r>
            <a:endParaRPr lang="en-ID" sz="1600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3DA2A4-FAFC-AA9E-8E5C-13BA63E75C88}"/>
              </a:ext>
            </a:extLst>
          </p:cNvPr>
          <p:cNvSpPr txBox="1"/>
          <p:nvPr/>
        </p:nvSpPr>
        <p:spPr>
          <a:xfrm>
            <a:off x="8774558" y="5845723"/>
            <a:ext cx="620486" cy="2939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LOT 2</a:t>
            </a:r>
            <a:endParaRPr lang="en-ID" sz="1600" b="1" dirty="0"/>
          </a:p>
        </p:txBody>
      </p:sp>
    </p:spTree>
    <p:extLst>
      <p:ext uri="{BB962C8B-B14F-4D97-AF65-F5344CB8AC3E}">
        <p14:creationId xmlns:p14="http://schemas.microsoft.com/office/powerpoint/2010/main" val="71138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50540-D17F-A02A-D534-EA83BFFC9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1953E34-154E-0017-B37C-9372A6D4D8A4}"/>
              </a:ext>
            </a:extLst>
          </p:cNvPr>
          <p:cNvSpPr/>
          <p:nvPr/>
        </p:nvSpPr>
        <p:spPr>
          <a:xfrm>
            <a:off x="1" y="2"/>
            <a:ext cx="12192000" cy="57722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31EC5E-1A62-55D4-CC60-A787C67C8757}"/>
              </a:ext>
            </a:extLst>
          </p:cNvPr>
          <p:cNvSpPr txBox="1"/>
          <p:nvPr/>
        </p:nvSpPr>
        <p:spPr>
          <a:xfrm>
            <a:off x="435427" y="65885"/>
            <a:ext cx="2511974" cy="5806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mpilan</a:t>
            </a:r>
            <a:r>
              <a:rPr lang="en-US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PSE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EFAA7F-DF40-D1F2-4339-42810964D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745" y="712447"/>
            <a:ext cx="5815548" cy="271655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7803E1F-59A5-3E8D-099F-8762CBCB8E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1922" y="2941657"/>
            <a:ext cx="5883250" cy="276840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B7BE0B9-269D-4889-524F-2BE0105FCB2C}"/>
              </a:ext>
            </a:extLst>
          </p:cNvPr>
          <p:cNvSpPr txBox="1"/>
          <p:nvPr/>
        </p:nvSpPr>
        <p:spPr>
          <a:xfrm>
            <a:off x="2637158" y="3564221"/>
            <a:ext cx="620486" cy="2939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LOT 3</a:t>
            </a:r>
            <a:endParaRPr lang="en-ID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7B0E12-5567-29D9-F5C6-5137678199A3}"/>
              </a:ext>
            </a:extLst>
          </p:cNvPr>
          <p:cNvSpPr txBox="1"/>
          <p:nvPr/>
        </p:nvSpPr>
        <p:spPr>
          <a:xfrm>
            <a:off x="8733304" y="5806678"/>
            <a:ext cx="620486" cy="2939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/>
              <a:t>LOT 4</a:t>
            </a:r>
            <a:endParaRPr lang="en-ID" sz="1600" b="1" dirty="0"/>
          </a:p>
        </p:txBody>
      </p:sp>
    </p:spTree>
    <p:extLst>
      <p:ext uri="{BB962C8B-B14F-4D97-AF65-F5344CB8AC3E}">
        <p14:creationId xmlns:p14="http://schemas.microsoft.com/office/powerpoint/2010/main" val="4207770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ADACE50-1B2F-C6DE-4D42-64983E946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8ABF5EA-CFF4-1590-3460-80DFC556D30D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03B87E-8726-A93C-3613-91CE814764F0}"/>
              </a:ext>
            </a:extLst>
          </p:cNvPr>
          <p:cNvSpPr txBox="1"/>
          <p:nvPr/>
        </p:nvSpPr>
        <p:spPr>
          <a:xfrm>
            <a:off x="457198" y="174744"/>
            <a:ext cx="3326861" cy="4186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yarata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yedia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835BB278-3328-0844-763E-5DECB5BAAA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3082" y="932328"/>
            <a:ext cx="11725835" cy="5750927"/>
          </a:xfrm>
        </p:spPr>
        <p:txBody>
          <a:bodyPr vert="horz" wrap="square" lIns="0" tIns="0" rIns="0" bIns="0" rtlCol="0" anchor="t">
            <a:noAutofit/>
          </a:bodyPr>
          <a:lstStyle/>
          <a:p>
            <a:pPr lvl="1"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sz="2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2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serta</a:t>
            </a:r>
            <a:r>
              <a:rPr lang="en-US" sz="2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ender</a:t>
            </a:r>
          </a:p>
          <a:p>
            <a:pPr marL="0" lvl="1" indent="0">
              <a:spcAft>
                <a:spcPts val="0"/>
              </a:spcAft>
              <a:buNone/>
            </a:pPr>
            <a:endParaRPr lang="en-US" sz="22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nder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pat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iikuti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oleh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emu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sert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/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nyedi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ngada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yang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berbentuk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Badan Usaha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ri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lam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negeri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aupu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luar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negeri;</a:t>
            </a:r>
          </a:p>
          <a:p>
            <a:pPr lvl="3"/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sert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Tender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pat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ecar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unggal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tau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KSO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eng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jumlah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ggot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KSO </a:t>
            </a:r>
            <a:r>
              <a:rPr lang="en-US" sz="2200" b="1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aksimum</a:t>
            </a:r>
            <a:r>
              <a:rPr lang="en-US" sz="2200" b="1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3 (</a:t>
            </a:r>
            <a:r>
              <a:rPr lang="en-US" sz="2200" b="1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iga</a:t>
            </a:r>
            <a:r>
              <a:rPr lang="en-US" sz="2200" b="1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)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Perusahaan (Badan Usaha).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lam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hal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KSO,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etidakny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encantumk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(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esuai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rcantum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di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okume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ngada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):</a:t>
            </a:r>
          </a:p>
          <a:p>
            <a:pPr marL="896938" lvl="3" indent="-153988">
              <a:buFont typeface="Wingdings" panose="05000000000000000000" pitchFamily="2" charset="2"/>
              <a:buChar char="Ø"/>
            </a:pP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Nama KSO</a:t>
            </a:r>
          </a:p>
          <a:p>
            <a:pPr marL="896938" lvl="3" indent="-153988">
              <a:buFont typeface="Wingdings" panose="05000000000000000000" pitchFamily="2" charset="2"/>
              <a:buChar char="Ø"/>
            </a:pP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Nama Perusahaan Lead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ert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ggotany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</a:p>
          <a:p>
            <a:pPr marL="896938" lvl="3" indent="-153988">
              <a:buFont typeface="Wingdings" panose="05000000000000000000" pitchFamily="2" charset="2"/>
              <a:buChar char="Ø"/>
            </a:pP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rsentase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mbagi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modal KSO dan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ewajib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masing-masing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ggota</a:t>
            </a:r>
            <a:endParaRPr lang="en-US" sz="2200" b="0" i="0" u="none" strike="noStrike" cap="none" dirty="0">
              <a:solidFill>
                <a:schemeClr val="dk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lvl="3"/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rusahaan (Badan Usaha) yang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erkena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anksi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berdasark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1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doman</a:t>
            </a:r>
            <a:r>
              <a:rPr lang="en-US" sz="2200" b="1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Anti-</a:t>
            </a:r>
            <a:r>
              <a:rPr lang="en-US" sz="2200" b="1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orupsi</a:t>
            </a:r>
            <a:r>
              <a:rPr lang="en-US" sz="2200" b="1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MDBs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,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idak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emenuhi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yarat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untuk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berpartisipasi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lam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proses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ngada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.</a:t>
            </a:r>
          </a:p>
          <a:p>
            <a:pPr lvl="3"/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embuat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formulir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rnyata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raktek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korupsi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dan </a:t>
            </a:r>
            <a:r>
              <a:rPr lang="en-US" sz="2200" b="0" i="0" u="none" strike="noStrike" cap="none" dirty="0" err="1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penipuan</a:t>
            </a:r>
            <a:r>
              <a:rPr lang="en-US" sz="2200" b="0" i="0" u="none" strike="noStrike" cap="none" dirty="0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World Bank dan ADB.</a:t>
            </a:r>
          </a:p>
        </p:txBody>
      </p:sp>
    </p:spTree>
    <p:extLst>
      <p:ext uri="{BB962C8B-B14F-4D97-AF65-F5344CB8AC3E}">
        <p14:creationId xmlns:p14="http://schemas.microsoft.com/office/powerpoint/2010/main" val="906583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69DFC0-96DF-38D4-2BC3-506E7F4440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CE173EF-4E61-898C-4629-60DA33780054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3B5620-595C-992A-FB81-64ACEE44B3E8}"/>
              </a:ext>
            </a:extLst>
          </p:cNvPr>
          <p:cNvSpPr txBox="1"/>
          <p:nvPr/>
        </p:nvSpPr>
        <p:spPr>
          <a:xfrm>
            <a:off x="457198" y="174744"/>
            <a:ext cx="3326861" cy="4186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tentua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in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4F43C-78D4-A09F-69D9-7C39DD99FC48}"/>
              </a:ext>
            </a:extLst>
          </p:cNvPr>
          <p:cNvSpPr txBox="1"/>
          <p:nvPr/>
        </p:nvSpPr>
        <p:spPr>
          <a:xfrm>
            <a:off x="674914" y="1028343"/>
            <a:ext cx="10842172" cy="480131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arang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impor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harus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dilengkapi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dengan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barang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eliputi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: (IKP 6.1)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US" altLang="en-US" i="1" dirty="0">
                <a:latin typeface="Calibri" panose="020F0502020204030204" pitchFamily="34" charset="0"/>
                <a:cs typeface="Calibri" panose="020F0502020204030204" pitchFamily="34" charset="0"/>
              </a:rPr>
              <a:t>Supporting Letter/Letter of Intent/Letter of Agreement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abrik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insipal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di negara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asal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Surat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Keterang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Asal (</a:t>
            </a:r>
            <a:r>
              <a:rPr lang="en-US" altLang="en-US" i="1" dirty="0">
                <a:latin typeface="Calibri" panose="020F0502020204030204" pitchFamily="34" charset="0"/>
                <a:cs typeface="Calibri" panose="020F0502020204030204" pitchFamily="34" charset="0"/>
              </a:rPr>
              <a:t>Certificate of Origi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); dan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ertifikat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oduksi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atasan </a:t>
            </a: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: (IKP 7)</a:t>
            </a:r>
            <a:b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err="1">
                <a:latin typeface="Calibri" panose="020F0502020204030204" pitchFamily="34" charset="0"/>
                <a:cs typeface="Calibri" panose="020F0502020204030204" pitchFamily="34" charset="0"/>
              </a:rPr>
              <a:t>Setiap</a:t>
            </a:r>
            <a:r>
              <a:rPr lang="en-US" altLang="en-US">
                <a:latin typeface="Calibri" panose="020F0502020204030204" pitchFamily="34" charset="0"/>
                <a:cs typeface="Calibri" panose="020F0502020204030204" pitchFamily="34" charset="0"/>
              </a:rPr>
              <a:t> peserta,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aik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atas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nama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endiri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aupu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ebagai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KSO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hanya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oleh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enyampaik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atu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alam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atu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lot yang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ama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atas Waktu (IKP 24)</a:t>
            </a:r>
          </a:p>
          <a:p>
            <a:pPr marL="314325"/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isampaik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etelah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batas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akhir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waktu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nyampai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idak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iterima</a:t>
            </a: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4325"/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95275" indent="-285750">
              <a:buFont typeface="Arial" panose="020B0604020202020204" pitchFamily="34" charset="0"/>
              <a:buChar char="•"/>
            </a:pPr>
            <a:r>
              <a:rPr lang="en-US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Bobot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Evaluasi (IKP 28.2)</a:t>
            </a:r>
          </a:p>
          <a:p>
            <a:pPr marL="314325"/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Metode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evaluasi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igunak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alam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laksana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milih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ini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adalah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istem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Nilai.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netapan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Calon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emenang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obot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eknis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en-US" b="1">
                <a:latin typeface="Calibri" panose="020F0502020204030204" pitchFamily="34" charset="0"/>
                <a:cs typeface="Calibri" panose="020F0502020204030204" pitchFamily="34" charset="0"/>
              </a:rPr>
              <a:t>30%</a:t>
            </a:r>
            <a:r>
              <a:rPr lang="en-US" altLang="en-US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obot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harga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70%</a:t>
            </a:r>
          </a:p>
          <a:p>
            <a:pPr marL="314325"/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042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F7B63F-5686-9A88-BD6B-3B11E52A9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2084BF-177A-AEA1-7C81-D143F04542D2}"/>
              </a:ext>
            </a:extLst>
          </p:cNvPr>
          <p:cNvSpPr/>
          <p:nvPr/>
        </p:nvSpPr>
        <p:spPr>
          <a:xfrm>
            <a:off x="1" y="1"/>
            <a:ext cx="12192000" cy="84082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C7CF64-2923-9E3D-5F0A-0647FB272E87}"/>
              </a:ext>
            </a:extLst>
          </p:cNvPr>
          <p:cNvSpPr txBox="1"/>
          <p:nvPr/>
        </p:nvSpPr>
        <p:spPr>
          <a:xfrm>
            <a:off x="457198" y="174744"/>
            <a:ext cx="3326861" cy="4186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IKP 15.1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0647125-B713-CE52-F056-A6F7768D65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703" y="1015572"/>
            <a:ext cx="10730593" cy="5355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sng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kumimoji="0" lang="en-US" altLang="en-US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1" i="0" u="sng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kumimoji="0" lang="en-US" altLang="en-US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eknis:</a:t>
            </a:r>
            <a:endParaRPr kumimoji="0" lang="en-US" altLang="en-US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eknis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u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ncakup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mulir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pesifikasi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eknis (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unduh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PSE/situs IHSS)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engkap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ngan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dentitas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k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jenis, merek, tipe,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ambar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dan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rosur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smi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brikan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OP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menuhan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spek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LSK3 </a:t>
            </a:r>
            <a:r>
              <a:rPr kumimoji="0" lang="en-US" altLang="en-US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Lingkungan, Sosial, Kesehatan, 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n </a:t>
            </a:r>
            <a:r>
              <a:rPr kumimoji="0" lang="en-US" altLang="en-US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eselamatan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br>
              <a:rPr kumimoji="0" lang="en-US" altLang="en-US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b="1" i="0" u="sng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kumimoji="0" lang="en-US" altLang="en-US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1" i="0" u="sng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kumimoji="0" lang="en-US" altLang="en-US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Harga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kume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Harg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u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ncakup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rat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Harga yang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ncantumk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g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nawar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ftar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antita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an Harga Barang (Price Schedule for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oods),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ncakup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g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ntuk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42950" lvl="1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arang yang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k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impo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742950" lvl="1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arang yang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dah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impo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ik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d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marL="742950" lvl="1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arang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ksi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alam Negeri (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ik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d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g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yan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rkait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inny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an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dwal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nyelesai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Price and Completion Schedule-Related Services)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nci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Harg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mbah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Jika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erlaku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42950" lvl="1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ga Barang Habis Pakai (Consumables).</a:t>
            </a:r>
          </a:p>
          <a:p>
            <a:pPr marL="742950" lvl="1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g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ksesori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742950" lvl="1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g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min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rasional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an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melihara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sca Mas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aransi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kumimoji="0" lang="en-US" altLang="en-US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ost Warranty for O&amp;M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marL="742950" lvl="1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g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iay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rasional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an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melihara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erulang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kumimoji="0" lang="en-US" altLang="en-US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current Cost for O&amp;M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771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686435-BD22-09BB-C46B-514F474CC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23109"/>
            <a:ext cx="12192000" cy="4241074"/>
          </a:xfrm>
          <a:solidFill>
            <a:srgbClr val="16B3AC"/>
          </a:solidFill>
        </p:spPr>
        <p:txBody>
          <a:bodyPr anchor="ctr">
            <a:normAutofit/>
          </a:bodyPr>
          <a:lstStyle/>
          <a:p>
            <a:pPr algn="ctr"/>
            <a:r>
              <a:rPr lang="en-US" sz="4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galitas, </a:t>
            </a:r>
            <a:r>
              <a:rPr lang="en-US" sz="4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aluasi</a:t>
            </a:r>
            <a:r>
              <a:rPr 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n </a:t>
            </a:r>
            <a:r>
              <a:rPr lang="en-US" sz="4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alifikasi</a:t>
            </a:r>
            <a:endParaRPr 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462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tQ8OHovUpJKNYFhq9_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tQ8OHovUpJKNYFhq9_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htQ8OHovUpJKNYFhq9_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6B3AC"/>
      </a:accent1>
      <a:accent2>
        <a:srgbClr val="00D6CC"/>
      </a:accent2>
      <a:accent3>
        <a:srgbClr val="03AAEB"/>
      </a:accent3>
      <a:accent4>
        <a:srgbClr val="94E0FE"/>
      </a:accent4>
      <a:accent5>
        <a:srgbClr val="D2DC02"/>
      </a:accent5>
      <a:accent6>
        <a:srgbClr val="BEBEBE"/>
      </a:accent6>
      <a:hlink>
        <a:srgbClr val="0000FF"/>
      </a:hlink>
      <a:folHlink>
        <a:srgbClr val="800080"/>
      </a:folHlink>
    </a:clrScheme>
    <a:fontScheme name="Custom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6B3AC"/>
        </a:accent1>
        <a:accent2>
          <a:srgbClr val="00D6CC"/>
        </a:accent2>
        <a:accent3>
          <a:srgbClr val="03AAEB"/>
        </a:accent3>
        <a:accent4>
          <a:srgbClr val="94E0FE"/>
        </a:accent4>
        <a:accent5>
          <a:srgbClr val="D2DC02"/>
        </a:accent5>
        <a:accent6>
          <a:srgbClr val="BEBEBE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005050"/>
    </a:custClr>
    <a:custClr name="Custom Color7">
      <a:srgbClr val="646400"/>
    </a:custClr>
    <a:custClr name="Custom Color8">
      <a:srgbClr val="F4F7C2"/>
    </a:custClr>
    <a:custClr name="Custom Color9">
      <a:srgbClr val="BFBFBF"/>
    </a:custClr>
    <a:custClr name="Custom Color10">
      <a:srgbClr val="7F7F7F"/>
    </a:custClr>
    <a:custClr name="Custom Color11">
      <a:srgbClr val="C00000"/>
    </a:custClr>
  </a:custClrLst>
  <a:extLst>
    <a:ext uri="{05A4C25C-085E-4340-85A3-A5531E510DB2}">
      <thm15:themeFamily xmlns:thm15="http://schemas.microsoft.com/office/thememl/2012/main" name="7579NR_OFF (V2).potx" id="{8B09071B-B0F7-4863-AB0D-941B190864F7}" vid="{353A424E-ADE9-4FA1-8512-38445F9632B8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6B3AC"/>
      </a:lt1>
      <a:dk2>
        <a:srgbClr val="000000"/>
      </a:dk2>
      <a:lt2>
        <a:srgbClr val="000000"/>
      </a:lt2>
      <a:accent1>
        <a:srgbClr val="FFFFFF"/>
      </a:accent1>
      <a:accent2>
        <a:srgbClr val="00D6CC"/>
      </a:accent2>
      <a:accent3>
        <a:srgbClr val="03AAEB"/>
      </a:accent3>
      <a:accent4>
        <a:srgbClr val="94E0FE"/>
      </a:accent4>
      <a:accent5>
        <a:srgbClr val="D2DC02"/>
      </a:accent5>
      <a:accent6>
        <a:srgbClr val="BEBEBE"/>
      </a:accent6>
      <a:hlink>
        <a:srgbClr val="0000FF"/>
      </a:hlink>
      <a:folHlink>
        <a:srgbClr val="800080"/>
      </a:folHlink>
    </a:clrScheme>
    <a:fontScheme name="Custom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6B3A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D6CC"/>
        </a:accent2>
        <a:accent3>
          <a:srgbClr val="03AAEB"/>
        </a:accent3>
        <a:accent4>
          <a:srgbClr val="94E0FE"/>
        </a:accent4>
        <a:accent5>
          <a:srgbClr val="D2DC02"/>
        </a:accent5>
        <a:accent6>
          <a:srgbClr val="BEBEBE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46400"/>
    </a:custClr>
    <a:custClr name="Custom Color7">
      <a:srgbClr val="F4F7C2"/>
    </a:custClr>
    <a:custClr name="Custom Color8">
      <a:srgbClr val="BFBFBF"/>
    </a:custClr>
    <a:custClr name="Custom Color9">
      <a:srgbClr val="7F7F7F"/>
    </a:custClr>
    <a:custClr name="Custom Color10">
      <a:srgbClr val="C00000"/>
    </a:custClr>
  </a:custClrLst>
  <a:extLst>
    <a:ext uri="{05A4C25C-085E-4340-85A3-A5531E510DB2}">
      <thm15:themeFamily xmlns:thm15="http://schemas.microsoft.com/office/thememl/2012/main" name="7579NR_OFF (V2).potx" id="{8B09071B-B0F7-4863-AB0D-941B190864F7}" vid="{1E20B6BD-A224-462D-9158-CC6DDD1C570A}"/>
    </a:ext>
  </a:extLst>
</a:theme>
</file>

<file path=ppt/theme/theme3.xml><?xml version="1.0" encoding="utf-8"?>
<a:theme xmlns:a="http://schemas.openxmlformats.org/drawingml/2006/main" name="18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6B3AC"/>
      </a:accent1>
      <a:accent2>
        <a:srgbClr val="00D6CC"/>
      </a:accent2>
      <a:accent3>
        <a:srgbClr val="03AAEB"/>
      </a:accent3>
      <a:accent4>
        <a:srgbClr val="94E0FE"/>
      </a:accent4>
      <a:accent5>
        <a:srgbClr val="D2DC02"/>
      </a:accent5>
      <a:accent6>
        <a:srgbClr val="BEBEBE"/>
      </a:accent6>
      <a:hlink>
        <a:srgbClr val="0000FF"/>
      </a:hlink>
      <a:folHlink>
        <a:srgbClr val="800080"/>
      </a:folHlink>
    </a:clrScheme>
    <a:fontScheme name="Custom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6B3AC"/>
        </a:accent1>
        <a:accent2>
          <a:srgbClr val="00D6CC"/>
        </a:accent2>
        <a:accent3>
          <a:srgbClr val="03AAEB"/>
        </a:accent3>
        <a:accent4>
          <a:srgbClr val="94E0FE"/>
        </a:accent4>
        <a:accent5>
          <a:srgbClr val="D2DC02"/>
        </a:accent5>
        <a:accent6>
          <a:srgbClr val="BEBEBE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005050"/>
    </a:custClr>
    <a:custClr name="Custom Color7">
      <a:srgbClr val="646400"/>
    </a:custClr>
    <a:custClr name="Custom Color8">
      <a:srgbClr val="F4F7C2"/>
    </a:custClr>
    <a:custClr name="Custom Color9">
      <a:srgbClr val="BFBFBF"/>
    </a:custClr>
    <a:custClr name="Custom Color10">
      <a:srgbClr val="7F7F7F"/>
    </a:custClr>
    <a:custClr name="Custom Color11">
      <a:srgbClr val="C00000"/>
    </a:custClr>
  </a:custClrLst>
  <a:extLst>
    <a:ext uri="{05A4C25C-085E-4340-85A3-A5531E510DB2}">
      <thm15:themeFamily xmlns:thm15="http://schemas.microsoft.com/office/thememl/2012/main" name="7579NR_OFF (V2).potx" id="{8B09071B-B0F7-4863-AB0D-941B190864F7}" vid="{353A424E-ADE9-4FA1-8512-38445F9632B8}"/>
    </a:ext>
  </a:extLst>
</a:theme>
</file>

<file path=ppt/theme/theme4.xml><?xml version="1.0" encoding="utf-8"?>
<a:theme xmlns:a="http://schemas.openxmlformats.org/drawingml/2006/main" name="19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6B3AC"/>
      </a:accent1>
      <a:accent2>
        <a:srgbClr val="00D6CC"/>
      </a:accent2>
      <a:accent3>
        <a:srgbClr val="03AAEB"/>
      </a:accent3>
      <a:accent4>
        <a:srgbClr val="94E0FE"/>
      </a:accent4>
      <a:accent5>
        <a:srgbClr val="D2DC02"/>
      </a:accent5>
      <a:accent6>
        <a:srgbClr val="BEBEBE"/>
      </a:accent6>
      <a:hlink>
        <a:srgbClr val="0000FF"/>
      </a:hlink>
      <a:folHlink>
        <a:srgbClr val="800080"/>
      </a:folHlink>
    </a:clrScheme>
    <a:fontScheme name="Custom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6B3AC"/>
        </a:accent1>
        <a:accent2>
          <a:srgbClr val="00D6CC"/>
        </a:accent2>
        <a:accent3>
          <a:srgbClr val="03AAEB"/>
        </a:accent3>
        <a:accent4>
          <a:srgbClr val="94E0FE"/>
        </a:accent4>
        <a:accent5>
          <a:srgbClr val="D2DC02"/>
        </a:accent5>
        <a:accent6>
          <a:srgbClr val="BEBEBE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005050"/>
    </a:custClr>
    <a:custClr name="Custom Color7">
      <a:srgbClr val="646400"/>
    </a:custClr>
    <a:custClr name="Custom Color8">
      <a:srgbClr val="F4F7C2"/>
    </a:custClr>
    <a:custClr name="Custom Color9">
      <a:srgbClr val="BFBFBF"/>
    </a:custClr>
    <a:custClr name="Custom Color10">
      <a:srgbClr val="7F7F7F"/>
    </a:custClr>
    <a:custClr name="Custom Color11">
      <a:srgbClr val="C00000"/>
    </a:custClr>
  </a:custClrLst>
  <a:extLst>
    <a:ext uri="{05A4C25C-085E-4340-85A3-A5531E510DB2}">
      <thm15:themeFamily xmlns:thm15="http://schemas.microsoft.com/office/thememl/2012/main" name="7579NR_OFF (V2).potx" id="{8B09071B-B0F7-4863-AB0D-941B190864F7}" vid="{353A424E-ADE9-4FA1-8512-38445F9632B8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16B3AC"/>
    </a:accent1>
    <a:accent2>
      <a:srgbClr val="00D6CC"/>
    </a:accent2>
    <a:accent3>
      <a:srgbClr val="03AAEB"/>
    </a:accent3>
    <a:accent4>
      <a:srgbClr val="94E0FE"/>
    </a:accent4>
    <a:accent5>
      <a:srgbClr val="D2DC02"/>
    </a:accent5>
    <a:accent6>
      <a:srgbClr val="BEBEBE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16B3AC"/>
    </a:accent1>
    <a:accent2>
      <a:srgbClr val="00D6CC"/>
    </a:accent2>
    <a:accent3>
      <a:srgbClr val="03AAEB"/>
    </a:accent3>
    <a:accent4>
      <a:srgbClr val="94E0FE"/>
    </a:accent4>
    <a:accent5>
      <a:srgbClr val="D2DC02"/>
    </a:accent5>
    <a:accent6>
      <a:srgbClr val="BEBEBE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16B3AC"/>
    </a:accent1>
    <a:accent2>
      <a:srgbClr val="00D6CC"/>
    </a:accent2>
    <a:accent3>
      <a:srgbClr val="03AAEB"/>
    </a:accent3>
    <a:accent4>
      <a:srgbClr val="94E0FE"/>
    </a:accent4>
    <a:accent5>
      <a:srgbClr val="D2DC02"/>
    </a:accent5>
    <a:accent6>
      <a:srgbClr val="BEBEBE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16B3AC"/>
    </a:accent1>
    <a:accent2>
      <a:srgbClr val="00D6CC"/>
    </a:accent2>
    <a:accent3>
      <a:srgbClr val="03AAEB"/>
    </a:accent3>
    <a:accent4>
      <a:srgbClr val="94E0FE"/>
    </a:accent4>
    <a:accent5>
      <a:srgbClr val="D2DC02"/>
    </a:accent5>
    <a:accent6>
      <a:srgbClr val="BEBEBE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586</TotalTime>
  <Words>2226</Words>
  <Application>Microsoft Office PowerPoint</Application>
  <PresentationFormat>Widescreen</PresentationFormat>
  <Paragraphs>249</Paragraphs>
  <Slides>23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Calibri</vt:lpstr>
      <vt:lpstr>Calibri </vt:lpstr>
      <vt:lpstr>Century Gothic</vt:lpstr>
      <vt:lpstr>Courier New</vt:lpstr>
      <vt:lpstr>Georgia</vt:lpstr>
      <vt:lpstr>Segoe UI</vt:lpstr>
      <vt:lpstr>Wingdings</vt:lpstr>
      <vt:lpstr>White</vt:lpstr>
      <vt:lpstr>Contrast</vt:lpstr>
      <vt:lpstr>18_White</vt:lpstr>
      <vt:lpstr>19_White</vt:lpstr>
      <vt:lpstr>think-cell Slide</vt:lpstr>
      <vt:lpstr>Pre-Bid Meeting/Aanwijzing Procurement of Advanced Diagnostics &amp; Treatment Systems  RFB No: ID-PMU SIHREN-528082-GO-RFB</vt:lpstr>
      <vt:lpstr>PowerPoint Presentation</vt:lpstr>
      <vt:lpstr>Ketentuan Umu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galitas, Evaluasi dan Kualifikasi</vt:lpstr>
      <vt:lpstr>PowerPoint Presentation</vt:lpstr>
      <vt:lpstr>PowerPoint Presentation</vt:lpstr>
      <vt:lpstr>PowerPoint Presentation</vt:lpstr>
      <vt:lpstr>Persyaratan Joint Ventures</vt:lpstr>
      <vt:lpstr>PowerPoint Presentation</vt:lpstr>
      <vt:lpstr>PowerPoint Presentation</vt:lpstr>
      <vt:lpstr>PowerPoint Presentation</vt:lpstr>
      <vt:lpstr>PowerPoint Presentation</vt:lpstr>
      <vt:lpstr>Hal yang Boleh dan Tidak Boleh</vt:lpstr>
      <vt:lpstr>PowerPoint Presentation</vt:lpstr>
      <vt:lpstr>PowerPoint Presentation</vt:lpstr>
      <vt:lpstr>PowerPoint Presentation</vt:lpstr>
      <vt:lpstr>PowerPoint Presentation</vt:lpstr>
      <vt:lpstr>ß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ing general health &amp; well being of Indonesian population</dc:title>
  <dc:creator>Andira Putri</dc:creator>
  <cp:lastModifiedBy>Andika Satria</cp:lastModifiedBy>
  <cp:revision>143</cp:revision>
  <dcterms:modified xsi:type="dcterms:W3CDTF">2026-05-04T07:5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1-02-03 04:34 PM</vt:lpwstr>
  </property>
  <property fmtid="{D5CDD505-2E9C-101B-9397-08002B2CF9AE}" pid="8" name="TemplateCreated">
    <vt:lpwstr>2019-02-27 01:18 PM</vt:lpwstr>
  </property>
</Properties>
</file>